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750" r:id="rId1"/>
  </p:sldMasterIdLst>
  <p:notesMasterIdLst>
    <p:notesMasterId r:id="rId34"/>
  </p:notesMasterIdLst>
  <p:sldIdLst>
    <p:sldId id="259" r:id="rId2"/>
    <p:sldId id="301" r:id="rId3"/>
    <p:sldId id="328" r:id="rId4"/>
    <p:sldId id="326" r:id="rId5"/>
    <p:sldId id="327" r:id="rId6"/>
    <p:sldId id="303" r:id="rId7"/>
    <p:sldId id="321" r:id="rId8"/>
    <p:sldId id="302" r:id="rId9"/>
    <p:sldId id="304" r:id="rId10"/>
    <p:sldId id="305" r:id="rId11"/>
    <p:sldId id="308" r:id="rId12"/>
    <p:sldId id="306" r:id="rId13"/>
    <p:sldId id="313" r:id="rId14"/>
    <p:sldId id="323" r:id="rId15"/>
    <p:sldId id="324" r:id="rId16"/>
    <p:sldId id="330" r:id="rId17"/>
    <p:sldId id="310" r:id="rId18"/>
    <p:sldId id="311" r:id="rId19"/>
    <p:sldId id="322" r:id="rId20"/>
    <p:sldId id="312" r:id="rId21"/>
    <p:sldId id="314" r:id="rId22"/>
    <p:sldId id="307" r:id="rId23"/>
    <p:sldId id="315" r:id="rId24"/>
    <p:sldId id="316" r:id="rId25"/>
    <p:sldId id="333" r:id="rId26"/>
    <p:sldId id="317" r:id="rId27"/>
    <p:sldId id="325" r:id="rId28"/>
    <p:sldId id="331" r:id="rId29"/>
    <p:sldId id="332" r:id="rId30"/>
    <p:sldId id="318" r:id="rId31"/>
    <p:sldId id="319" r:id="rId32"/>
    <p:sldId id="320" r:id="rId33"/>
  </p:sldIdLst>
  <p:sldSz cx="12192000" cy="6858000"/>
  <p:notesSz cx="6797675" cy="9926638"/>
  <p:custDataLst>
    <p:tags r:id="rId3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0" autoAdjust="0"/>
  </p:normalViewPr>
  <p:slideViewPr>
    <p:cSldViewPr snapToObjects="1" showGuides="1">
      <p:cViewPr varScale="1">
        <p:scale>
          <a:sx n="86" d="100"/>
          <a:sy n="86" d="100"/>
        </p:scale>
        <p:origin x="514" y="5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6/13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1929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(small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FRAME White">
            <a:extLst>
              <a:ext uri="{FF2B5EF4-FFF2-40B4-BE49-F238E27FC236}">
                <a16:creationId xmlns:a16="http://schemas.microsoft.com/office/drawing/2014/main" id="{15DAF63E-3799-4D6A-959B-7DE1A063DBBF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146DD86-BBB9-4F16-BDE4-93175C4C67B1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577A2A5-0C0B-4048-A501-27F709D10B73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2475753-285F-487A-AEEF-6F0E0B816F2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2B760C1-D34C-47B0-B44E-83FCED00374F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4" name="Bildplatzhalter">
            <a:extLst>
              <a:ext uri="{FF2B5EF4-FFF2-40B4-BE49-F238E27FC236}">
                <a16:creationId xmlns:a16="http://schemas.microsoft.com/office/drawing/2014/main" id="{830BE22D-5FF6-42FB-85B3-DB82480465F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92088" y="188911"/>
            <a:ext cx="11807827" cy="3708402"/>
          </a:xfrm>
          <a:custGeom>
            <a:avLst/>
            <a:gdLst>
              <a:gd name="connsiteX0" fmla="*/ 0 w 11807827"/>
              <a:gd name="connsiteY0" fmla="*/ 0 h 3708402"/>
              <a:gd name="connsiteX1" fmla="*/ 288941 w 11807827"/>
              <a:gd name="connsiteY1" fmla="*/ 0 h 3708402"/>
              <a:gd name="connsiteX2" fmla="*/ 288941 w 11807827"/>
              <a:gd name="connsiteY2" fmla="*/ 1058993 h 3708402"/>
              <a:gd name="connsiteX3" fmla="*/ 2752882 w 11807827"/>
              <a:gd name="connsiteY3" fmla="*/ 1058993 h 3708402"/>
              <a:gd name="connsiteX4" fmla="*/ 2752882 w 11807827"/>
              <a:gd name="connsiteY4" fmla="*/ 0 h 3708402"/>
              <a:gd name="connsiteX5" fmla="*/ 11807827 w 11807827"/>
              <a:gd name="connsiteY5" fmla="*/ 0 h 3708402"/>
              <a:gd name="connsiteX6" fmla="*/ 11807827 w 11807827"/>
              <a:gd name="connsiteY6" fmla="*/ 3708402 h 3708402"/>
              <a:gd name="connsiteX7" fmla="*/ 0 w 11807827"/>
              <a:gd name="connsiteY7" fmla="*/ 3708402 h 3708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3708402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3708402"/>
                </a:lnTo>
                <a:lnTo>
                  <a:pt x="0" y="3708402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425" y="4149080"/>
            <a:ext cx="11233151" cy="54000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79424" y="4609880"/>
            <a:ext cx="11233151" cy="119812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6034835"/>
            <a:ext cx="3600000" cy="382497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5" y="6031834"/>
            <a:ext cx="5400000" cy="382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5" name="Logo">
            <a:extLst>
              <a:ext uri="{FF2B5EF4-FFF2-40B4-BE49-F238E27FC236}">
                <a16:creationId xmlns:a16="http://schemas.microsoft.com/office/drawing/2014/main" id="{05907349-0A63-4400-8904-0092523F0C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D68D9D-A71B-4491-8644-B948906D9288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DCFEC8-1D53-47C5-ACF7-F4A3F6140CB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11916-1B0E-4985-9F06-8277EDF39A5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07282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455">
          <p15:clr>
            <a:srgbClr val="FBAE40"/>
          </p15:clr>
        </p15:guide>
        <p15:guide id="2" pos="302">
          <p15:clr>
            <a:srgbClr val="FBAE40"/>
          </p15:clr>
        </p15:guide>
        <p15:guide id="3" pos="737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6681138-8BDE-4A59-B317-F143904C074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20826"/>
            <a:ext cx="11376025" cy="205263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08B235C7-A324-4329-88AD-6A90AC602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99ED5E01-D7A3-4C00-8B85-854DC5E74FF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86F8EC9E-1AEB-4B13-B233-C5D28F109A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444BCA8-BAAE-45F1-BF20-9C985694BA08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97373417-F7FA-4C7C-AA99-5CA17883335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18F89E35-4A03-46B8-BF60-0D6BE509F84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6758724-2774-4003-B210-E8EC4053BE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E386D9-CD0A-4844-8889-63CB4BAE67F0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B18D2EA-30EC-47FC-A49F-9A4EC99FEC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1B7DB90-8B7C-489D-8168-F01E066FC3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35675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2251" userDrawn="1">
          <p15:clr>
            <a:srgbClr val="FBAE40"/>
          </p15:clr>
        </p15:guide>
        <p15:guide id="4" orient="horz" pos="958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0F6B8F5-B9AF-44C3-89D8-96E3D5B3B75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3753036"/>
            <a:ext cx="11376025" cy="234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35A8D545-A93C-45AE-904B-B3D2A6DBA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50CB5D9B-214B-42ED-A44B-ED98105C3A9C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F91FA335-A736-4869-A5F5-27416157CD3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1C3BDA8D-21CF-4C1C-92C8-92B4F9AC1462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92294B2A-223A-41EB-A4D3-73498DD17D4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2D3E43CD-D260-43D5-985B-A6070AF35D8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C9E9889-D9B8-4464-90AE-1C5694A443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61C6F0-DF11-47D3-98E6-C8D578D495EF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9D05C85-19A1-4720-A46F-ADB94A001E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C34AA7-56F5-4DFB-BB0A-73487C84C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29379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2364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  <p15:guide id="5" orient="horz" pos="95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B7171F9-7DA5-4A30-B943-1B7EB8CD53F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89" y="1520826"/>
            <a:ext cx="561657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F174CBBD-5F0D-4FFF-8F95-BF88F43E44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03950" y="1520826"/>
            <a:ext cx="558006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0DE6B78-D7ED-430E-8E20-CAE06AA09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F9B4AFCB-DB45-49B7-B777-4CDF88C0ABB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23D7AA8A-E342-4FD0-BCBD-1470358DADF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A8BA5EE-6B72-40E7-8ED5-DC20CE557046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E348A05D-E816-4522-A298-6D62550566C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DE" hidden="1">
            <a:extLst>
              <a:ext uri="{FF2B5EF4-FFF2-40B4-BE49-F238E27FC236}">
                <a16:creationId xmlns:a16="http://schemas.microsoft.com/office/drawing/2014/main" id="{38C380F1-7DBC-4B80-AD8A-F20330358945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CCA592D-71D0-4327-ABCD-E620EE710FE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039551F-501F-48C3-872B-1B70E06C58D9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AAB68FE-1F4D-466F-8B73-E98C083921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A6B1C62-6525-45D9-8F43-B4254E6802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5683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pos="3795" userDrawn="1">
          <p15:clr>
            <a:srgbClr val="FBAE40"/>
          </p15:clr>
        </p15:guide>
        <p15:guide id="4" pos="3908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  <p15:guide id="6" orient="horz" pos="95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7CAEDC9-3FCE-450A-8086-C3C7F18E79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04924" y="1520824"/>
            <a:ext cx="367907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1FFD298C-9A50-4D7B-938B-36B0E744507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59263" y="1523205"/>
            <a:ext cx="3672000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F1EF5954-3317-44D7-A8B1-CAE9C63D802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2268" y="1520824"/>
            <a:ext cx="3671999" cy="45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8">
            <a:extLst>
              <a:ext uri="{FF2B5EF4-FFF2-40B4-BE49-F238E27FC236}">
                <a16:creationId xmlns:a16="http://schemas.microsoft.com/office/drawing/2014/main" id="{C525BCE3-0679-47A8-9F40-CCABBDB74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6" name="MIO_LOGOPLACEHOLDER#Logo_16x9" hidden="1">
            <a:extLst>
              <a:ext uri="{FF2B5EF4-FFF2-40B4-BE49-F238E27FC236}">
                <a16:creationId xmlns:a16="http://schemas.microsoft.com/office/drawing/2014/main" id="{8C448D31-1F9D-46B9-8C3D-CE6A70EA0C8E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7" name="Masterfeld-Info-EN">
            <a:extLst>
              <a:ext uri="{FF2B5EF4-FFF2-40B4-BE49-F238E27FC236}">
                <a16:creationId xmlns:a16="http://schemas.microsoft.com/office/drawing/2014/main" id="{63F71440-52CB-414F-B926-8F4ADFC90EE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Info-DE" hidden="1">
            <a:extLst>
              <a:ext uri="{FF2B5EF4-FFF2-40B4-BE49-F238E27FC236}">
                <a16:creationId xmlns:a16="http://schemas.microsoft.com/office/drawing/2014/main" id="{6568D25D-9208-4FF5-9DDC-D50BD8DCEA24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EN">
            <a:extLst>
              <a:ext uri="{FF2B5EF4-FFF2-40B4-BE49-F238E27FC236}">
                <a16:creationId xmlns:a16="http://schemas.microsoft.com/office/drawing/2014/main" id="{FD8EC8A8-538F-418B-8779-77DEB0A52A59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DE" hidden="1">
            <a:extLst>
              <a:ext uri="{FF2B5EF4-FFF2-40B4-BE49-F238E27FC236}">
                <a16:creationId xmlns:a16="http://schemas.microsoft.com/office/drawing/2014/main" id="{A6862E4D-B72F-4CB2-A981-E6F069AAC9C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DA6242-2A62-498D-A40B-38E9D6DA479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FFFC3D1-78C0-45C0-B52E-0F26E1541273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5BB03AA-901B-4D1B-962C-C642C71BC2E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31DC0F9-8FFF-4E46-A52F-5510428137B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81677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684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4997" userDrawn="1">
          <p15:clr>
            <a:srgbClr val="FBAE40"/>
          </p15:clr>
        </p15:guide>
        <p15:guide id="5" pos="2570" userDrawn="1">
          <p15:clr>
            <a:srgbClr val="FBAE40"/>
          </p15:clr>
        </p15:guide>
        <p15:guide id="6" pos="257" userDrawn="1">
          <p15:clr>
            <a:srgbClr val="FBAE40"/>
          </p15:clr>
        </p15:guide>
        <p15:guide id="7" orient="horz" pos="3838" userDrawn="1">
          <p15:clr>
            <a:srgbClr val="FBAE40"/>
          </p15:clr>
        </p15:guide>
        <p15:guide id="8" orient="horz" pos="95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3BC0F0D8-9FF5-4203-B448-39BAF7EAAC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20825"/>
            <a:ext cx="5616575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9C105228-F1CC-4FBD-A39D-54C96A5AE7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3950" y="1520825"/>
            <a:ext cx="5580063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842B77-A3FA-4B92-A31A-0DF1B28CB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7D80BD4F-7884-47C7-A491-DDF6970D8D0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7988" y="3898800"/>
            <a:ext cx="5616575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43501644-F383-4B53-B31C-362D1CCDBB0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3950" y="3898800"/>
            <a:ext cx="5580063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MIO_LOGOPLACEHOLDER#Logo_16x9" hidden="1">
            <a:extLst>
              <a:ext uri="{FF2B5EF4-FFF2-40B4-BE49-F238E27FC236}">
                <a16:creationId xmlns:a16="http://schemas.microsoft.com/office/drawing/2014/main" id="{AE83C1C4-2440-4C35-8A90-849EB54D0C9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5" name="Masterfeld-Info-EN">
            <a:extLst>
              <a:ext uri="{FF2B5EF4-FFF2-40B4-BE49-F238E27FC236}">
                <a16:creationId xmlns:a16="http://schemas.microsoft.com/office/drawing/2014/main" id="{A4F32111-9F5F-47D1-8FA5-15FB4F65DC6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Info-DE" hidden="1">
            <a:extLst>
              <a:ext uri="{FF2B5EF4-FFF2-40B4-BE49-F238E27FC236}">
                <a16:creationId xmlns:a16="http://schemas.microsoft.com/office/drawing/2014/main" id="{A565A0D1-29C1-4751-A3DE-B8D9766B712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EN">
            <a:extLst>
              <a:ext uri="{FF2B5EF4-FFF2-40B4-BE49-F238E27FC236}">
                <a16:creationId xmlns:a16="http://schemas.microsoft.com/office/drawing/2014/main" id="{2020EDE3-6EDC-46BA-9114-0499D5A5E09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DE" hidden="1">
            <a:extLst>
              <a:ext uri="{FF2B5EF4-FFF2-40B4-BE49-F238E27FC236}">
                <a16:creationId xmlns:a16="http://schemas.microsoft.com/office/drawing/2014/main" id="{6E826D26-BB6D-4FDC-BF77-093C80E0D74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43BA914-5104-45EC-B47B-AF6860250B7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CB669CD-EA8B-43A0-A8CB-F99592D7E4F5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B45B8B6-642B-4F83-911A-02F584B9722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DE9945D-4C35-4C6B-907F-8412ED727BA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439980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379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7423" userDrawn="1">
          <p15:clr>
            <a:srgbClr val="FBAE40"/>
          </p15:clr>
        </p15:guide>
        <p15:guide id="4" pos="3908" userDrawn="1">
          <p15:clr>
            <a:srgbClr val="FBAE40"/>
          </p15:clr>
        </p15:guide>
        <p15:guide id="5" orient="horz" pos="2341" userDrawn="1">
          <p15:clr>
            <a:srgbClr val="FBAE40"/>
          </p15:clr>
        </p15:guide>
        <p15:guide id="6" orient="horz" pos="957" userDrawn="1">
          <p15:clr>
            <a:srgbClr val="FBAE40"/>
          </p15:clr>
        </p15:guide>
        <p15:guide id="7" orient="horz" pos="2455" userDrawn="1">
          <p15:clr>
            <a:srgbClr val="FBAE40"/>
          </p15:clr>
        </p15:guide>
        <p15:guide id="8" orient="horz" pos="383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FAD41F3-0F53-498D-8891-916DD8545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FBBEC-37FF-4CF5-96D7-08EADFB160DC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4DE63F-CE96-406B-8AA0-D15BA990C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D0E597A-3526-48A9-A062-D5CA87A44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170719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9">
            <a:extLst>
              <a:ext uri="{FF2B5EF4-FFF2-40B4-BE49-F238E27FC236}">
                <a16:creationId xmlns:a16="http://schemas.microsoft.com/office/drawing/2014/main" id="{F572801F-5369-450D-8FC5-7EC9A0B0204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19" name="FRAME White">
            <a:extLst>
              <a:ext uri="{FF2B5EF4-FFF2-40B4-BE49-F238E27FC236}">
                <a16:creationId xmlns:a16="http://schemas.microsoft.com/office/drawing/2014/main" id="{B6B72D05-1B3B-43F9-9F79-FE5C1F292472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B906AF43-7ED3-47F7-A2C5-CA61EE2A30D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FAB89114-49EB-47FB-AECB-74CF755AA9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FB3FE2BA-FABF-40EC-A2D8-14B92090D0E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9CFE73-E58D-465A-9C4E-6D6B5CBC526C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cxnSp>
        <p:nvCxnSpPr>
          <p:cNvPr id="11" name="Gerade Verbindung 12">
            <a:extLst>
              <a:ext uri="{FF2B5EF4-FFF2-40B4-BE49-F238E27FC236}">
                <a16:creationId xmlns:a16="http://schemas.microsoft.com/office/drawing/2014/main" id="{2F9BF584-A5D3-4786-989F-D5B795E2A39D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AD784115-DDC7-402B-BE08-5AF99DBFF6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5FFC57-6077-4AEA-8BDB-9C82DDC3C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EB0DF9-929E-4D34-9B36-D9DA4125B5F1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B69130-6EA9-4EBA-9D05-9A378F78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EC34FCF-8B3A-4505-9567-B2E672102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19544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IO_LOGOPLACEHOLDER#Logo_16x9" hidden="1">
            <a:extLst>
              <a:ext uri="{FF2B5EF4-FFF2-40B4-BE49-F238E27FC236}">
                <a16:creationId xmlns:a16="http://schemas.microsoft.com/office/drawing/2014/main" id="{B00BF2E9-B74D-4FDD-95DE-38211AF3D5FF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3" name="Masterfeld-Info-EN">
            <a:extLst>
              <a:ext uri="{FF2B5EF4-FFF2-40B4-BE49-F238E27FC236}">
                <a16:creationId xmlns:a16="http://schemas.microsoft.com/office/drawing/2014/main" id="{6BAB1632-9C6F-4747-8F5E-BBC921261A6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Masterfeld-Info-DE" hidden="1">
            <a:extLst>
              <a:ext uri="{FF2B5EF4-FFF2-40B4-BE49-F238E27FC236}">
                <a16:creationId xmlns:a16="http://schemas.microsoft.com/office/drawing/2014/main" id="{A39E4CF0-29B6-43FF-86DF-891652331A3F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Class-EN">
            <a:extLst>
              <a:ext uri="{FF2B5EF4-FFF2-40B4-BE49-F238E27FC236}">
                <a16:creationId xmlns:a16="http://schemas.microsoft.com/office/drawing/2014/main" id="{ADC13DB3-94D1-4BAF-8174-DC397C08082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DE" hidden="1">
            <a:extLst>
              <a:ext uri="{FF2B5EF4-FFF2-40B4-BE49-F238E27FC236}">
                <a16:creationId xmlns:a16="http://schemas.microsoft.com/office/drawing/2014/main" id="{64A8EFFA-7D94-4C22-A264-9815DFCCF529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6CA0499-F19D-406D-B321-383D04CA1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7EAC4-54B9-4861-902F-1BD022B3385A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A9B86F-88DC-4014-B48D-C9E776E6F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85D8B5-A468-406C-971C-66C2C9FE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936676"/>
      </p:ext>
    </p:extLst>
  </p:cSld>
  <p:clrMapOvr>
    <a:masterClrMapping/>
  </p:clrMapOvr>
  <p:transition>
    <p:fade/>
  </p:transition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BF5D74A2-C7F1-48E8-B7B4-2B0BF866C16F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F163EA-301A-40A7-96ED-7AB65D4A6D8E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0DB6E66B-88B6-4E3A-8C09-D612356531B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3B475A27-0B0F-40BF-B298-C6374E380F36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D8BB1E8-7EE5-4628-A130-B65351475F74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D31A8960-115E-4470-A3BA-85C70CA5D068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A9946D1-1433-410B-A659-FFBB2ADD370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136E60E0-EECE-4435-B4C9-C30E084313F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40D984B-70ED-4F74-920D-79E213FF4910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863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0D9A1354-DE88-430B-95CE-0A0E34F090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2088" y="188911"/>
            <a:ext cx="11807827" cy="648017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A1FFDD6D-807F-4511-8617-52E5A1F00217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F44809C7-AB8B-490B-9DE2-68BBAE4927BE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BB339137-B699-4329-AB38-A91F610F3E5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F9AFA75-3BC9-4B23-9E63-7668A397268B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07FAB827-C75B-4237-A041-591858E8065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5948588-E55D-4D65-ABDF-CE08CF90CF2A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4F99E46-1DC1-4624-84C8-5F6964FF18A1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4ACE75A-37F6-4776-A458-F2A0887B9919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23086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(big picture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FRAME White">
            <a:extLst>
              <a:ext uri="{FF2B5EF4-FFF2-40B4-BE49-F238E27FC236}">
                <a16:creationId xmlns:a16="http://schemas.microsoft.com/office/drawing/2014/main" id="{151D592C-0E5C-4A6E-8B77-3E3202566708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EE7219B-B491-4349-90B2-CEE0CF754CBE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F70E331-4FD9-49A2-A1F3-F4F1958BF1FD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264D60F-9B75-411C-805A-0094C85ABBE3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2924C966-DD41-44EC-96C3-14EA5E8B1DCA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9" name="Bildplatzhalter">
            <a:extLst>
              <a:ext uri="{FF2B5EF4-FFF2-40B4-BE49-F238E27FC236}">
                <a16:creationId xmlns:a16="http://schemas.microsoft.com/office/drawing/2014/main" id="{A4B97A2A-43FB-4C25-9F31-E5E3A50C29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92088" y="188911"/>
            <a:ext cx="11807827" cy="6480178"/>
          </a:xfrm>
          <a:custGeom>
            <a:avLst/>
            <a:gdLst>
              <a:gd name="connsiteX0" fmla="*/ 0 w 11807827"/>
              <a:gd name="connsiteY0" fmla="*/ 0 h 6480178"/>
              <a:gd name="connsiteX1" fmla="*/ 288941 w 11807827"/>
              <a:gd name="connsiteY1" fmla="*/ 0 h 6480178"/>
              <a:gd name="connsiteX2" fmla="*/ 288941 w 11807827"/>
              <a:gd name="connsiteY2" fmla="*/ 1058993 h 6480178"/>
              <a:gd name="connsiteX3" fmla="*/ 2752882 w 11807827"/>
              <a:gd name="connsiteY3" fmla="*/ 1058993 h 6480178"/>
              <a:gd name="connsiteX4" fmla="*/ 2752882 w 11807827"/>
              <a:gd name="connsiteY4" fmla="*/ 0 h 6480178"/>
              <a:gd name="connsiteX5" fmla="*/ 11807827 w 11807827"/>
              <a:gd name="connsiteY5" fmla="*/ 0 h 6480178"/>
              <a:gd name="connsiteX6" fmla="*/ 11807827 w 11807827"/>
              <a:gd name="connsiteY6" fmla="*/ 6480178 h 6480178"/>
              <a:gd name="connsiteX7" fmla="*/ 0 w 11807827"/>
              <a:gd name="connsiteY7" fmla="*/ 6480178 h 648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6480178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6480178"/>
                </a:lnTo>
                <a:lnTo>
                  <a:pt x="0" y="6480178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030" y="4147200"/>
            <a:ext cx="11233545" cy="54188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81030" y="4609880"/>
            <a:ext cx="11230828" cy="112337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81030" y="6031834"/>
            <a:ext cx="3597789" cy="385498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i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6" y="6031834"/>
            <a:ext cx="5400000" cy="385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0" name="Logo">
            <a:extLst>
              <a:ext uri="{FF2B5EF4-FFF2-40B4-BE49-F238E27FC236}">
                <a16:creationId xmlns:a16="http://schemas.microsoft.com/office/drawing/2014/main" id="{D9D5C7E9-EB80-4167-82F4-B577553CDF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54A713B-EAFD-4F77-90C2-3995E569BD6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BE6876-3879-4117-8C56-8BE3DC75BAA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12093F9-0D54-4B44-914A-4187B3C5AD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5777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192088" y="188913"/>
            <a:ext cx="11807825" cy="64801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77F38C49-D815-4386-B542-AB1FE19DE431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76DFA53-C115-4C27-AAB1-B1BD38BC3B2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B37DD6-747B-42BB-89A7-DEEA243E703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DFDFC4-6AB9-476C-85C8-5E032E9D369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0515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9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216EF78-F960-4DDD-A05D-51C3ED2FA98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D2BCFF-0EDC-4A2A-B941-89F9DCF5DD5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81BA31-D102-465D-A1EA-1F0EAFD0EE0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2350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FRAME White">
            <a:extLst>
              <a:ext uri="{FF2B5EF4-FFF2-40B4-BE49-F238E27FC236}">
                <a16:creationId xmlns:a16="http://schemas.microsoft.com/office/drawing/2014/main" id="{C05DB44F-8E9A-4CAF-A8A8-5B916B999FA8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E81F6422-5F2C-4991-B00D-D4C38706071D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ED0CD5F-6A41-4C2F-ABD4-8E40D31B6E3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8655B72-193C-4735-B876-D5A85FA0A43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7143FF9-D8BB-4C70-8C46-48376B1BA86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8014" y="3009600"/>
            <a:ext cx="11375973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8014" y="2107200"/>
            <a:ext cx="11375973" cy="96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5851F18-0C9E-4DD0-B776-B4E60644EFE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D9408A6E-02FF-4400-956C-1FF1870921A7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9D157CC6-A0A6-4AB4-AFAD-32EC3D20B9F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B1CA1B1F-6C24-4D70-B043-F9A04941A4A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2" name="LOGO">
            <a:extLst>
              <a:ext uri="{FF2B5EF4-FFF2-40B4-BE49-F238E27FC236}">
                <a16:creationId xmlns:a16="http://schemas.microsoft.com/office/drawing/2014/main" id="{3E6F4728-B37E-480B-9900-02FBCCCB79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7E0B444-4054-4052-A13B-B11BD7B30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5DE992-D9F8-47E3-8A6C-63E83D3CEFCD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FCE1938-7EEC-44F3-969E-567467A0B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BA81E4B-02C4-44F7-B1C3-423E7A818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42464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933" userDrawn="1">
          <p15:clr>
            <a:srgbClr val="FBAE40"/>
          </p15:clr>
        </p15:guide>
        <p15:guide id="4" orient="horz" pos="3498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7988" y="3009600"/>
            <a:ext cx="11375999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tx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7988" y="2107200"/>
            <a:ext cx="11375999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1" name="Masterfeld-Info-EN">
            <a:extLst>
              <a:ext uri="{FF2B5EF4-FFF2-40B4-BE49-F238E27FC236}">
                <a16:creationId xmlns:a16="http://schemas.microsoft.com/office/drawing/2014/main" id="{7D1AE2D1-92EA-4E37-8A5F-F31ED6BED78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2B836A30-9063-4E81-90C3-717FA2E9D666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C138A886-25C1-48B9-9C2A-A161924C947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FA1AEB5C-4AD7-45EB-9C78-BEA5B35C960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E35D26-FC61-4045-940E-5F22C3676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17A8F2-1A0F-4944-89ED-5C98CF24A70A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A51F85F-C28C-489B-B9EA-96BDEC009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F9E5F00-FA59-4081-9CF3-90733688F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22550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3499" userDrawn="1">
          <p15:clr>
            <a:srgbClr val="FBAE40"/>
          </p15:clr>
        </p15:guide>
        <p15:guide id="4" orient="horz" pos="1933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FRAME White">
            <a:extLst>
              <a:ext uri="{FF2B5EF4-FFF2-40B4-BE49-F238E27FC236}">
                <a16:creationId xmlns:a16="http://schemas.microsoft.com/office/drawing/2014/main" id="{D8907BB1-7EC8-46B6-B9E0-F48BA8DC6A76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C68C66BB-3A46-4180-86AC-2BB0369F3D1B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E5234FAD-2CB4-4FE8-BE96-5E642C5F7CFA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14A24F-19F2-49A3-B8B0-523BA8ABAAF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4233672-8FA4-4A80-95BA-40AE88B0836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8014" y="3009600"/>
            <a:ext cx="11375999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8014" y="2107200"/>
            <a:ext cx="11375999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8E816380-23F1-4C54-9752-B2207D5DE92E}"/>
              </a:ext>
            </a:extLst>
          </p:cNvPr>
          <p:cNvCxnSpPr>
            <a:cxnSpLocks/>
          </p:cNvCxnSpPr>
          <p:nvPr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BC6F472-70FC-455A-BA0A-031497632A2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08D8DE0F-7017-4D43-8BC5-1316FA5C0AA2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EEC07142-17B8-4453-B2BB-77D6CD2405C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14AE16D3-B89C-4E97-BF3F-5500CFF99363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5AAEF45-A137-434D-A4B8-D75B64393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247ADA-8910-434A-9EE5-6D7773D18990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FC364D-AEFA-4E82-9B96-40B90A5D9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930359B-EF64-4358-BE91-00C2D4398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3018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933" userDrawn="1">
          <p15:clr>
            <a:srgbClr val="FBAE40"/>
          </p15:clr>
        </p15:guide>
        <p15:guide id="4" orient="horz" pos="3499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84613-1C8D-4A07-8381-9DFFDAD7B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F8F3C7-45C2-466C-AA34-374F0F1ACE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C9AF0F-2DCB-4A2B-B791-982F304F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251C2-1D75-45C1-9256-F191876D6706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C52C69-E37A-43BE-B15F-8A75A7B763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3D8057-D44E-4CD4-8C5E-BBE475962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431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FRAME White">
            <a:extLst>
              <a:ext uri="{FF2B5EF4-FFF2-40B4-BE49-F238E27FC236}">
                <a16:creationId xmlns:a16="http://schemas.microsoft.com/office/drawing/2014/main" id="{42DBBF48-C57F-4D08-8F91-3CE39764F6AE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E3CC3DC7-20F3-47E8-B5E3-07A8CCEB2A6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2C4C470D-22C4-4962-9C8B-E9338ECC73F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4EC79E2C-EE82-4583-BE3F-D991FC4ECCA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DDEE6D0-332E-4218-822A-DCEBEEC9D24B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031" y="3236780"/>
            <a:ext cx="11232000" cy="540001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79031" y="3697581"/>
            <a:ext cx="11232000" cy="120112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79030" y="6031834"/>
            <a:ext cx="3600000" cy="385498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5" y="6031834"/>
            <a:ext cx="5399283" cy="385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3C45320A-E2BA-4297-B66E-E5C7FA6E78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3C9D60D-44C9-404B-93EA-CEC194B41EC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D7C770-1069-4A7C-98B9-BDBADCCAC3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7DA81-EAC7-4105-BC74-1FBC72D0156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7663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C1F5C252-095C-414D-9D37-061542CCFFC5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93D444-7D1D-4CCB-B280-7F5A501F6C3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7C4A005-12F6-4802-A703-1B1E6F3F605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EF202C7-F2B9-443B-ABBD-DB6B139E5115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DE6D648D-0C7C-45BD-9D29-E24E7DFA9A5D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50BA2E4-AA81-4E1F-A271-8D38B04809F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el 7">
            <a:extLst>
              <a:ext uri="{FF2B5EF4-FFF2-40B4-BE49-F238E27FC236}">
                <a16:creationId xmlns:a16="http://schemas.microsoft.com/office/drawing/2014/main" id="{ABA3C9F2-E253-421F-945D-D68861922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36AB968B-E423-45A9-BCC2-8AD32505936A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1C09B27F-8BF5-4652-B0A7-68636C1D475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Masterfeld-Info-EN">
            <a:extLst>
              <a:ext uri="{FF2B5EF4-FFF2-40B4-BE49-F238E27FC236}">
                <a16:creationId xmlns:a16="http://schemas.microsoft.com/office/drawing/2014/main" id="{71443D15-BEDB-40DE-94E4-DAC71EB6616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Info-DE" hidden="1">
            <a:extLst>
              <a:ext uri="{FF2B5EF4-FFF2-40B4-BE49-F238E27FC236}">
                <a16:creationId xmlns:a16="http://schemas.microsoft.com/office/drawing/2014/main" id="{8C6396D6-849A-4ABC-8DBD-C38E1845BAAB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Masterfeld-Class-EN">
            <a:extLst>
              <a:ext uri="{FF2B5EF4-FFF2-40B4-BE49-F238E27FC236}">
                <a16:creationId xmlns:a16="http://schemas.microsoft.com/office/drawing/2014/main" id="{21B62723-1E18-4553-90EC-FFCFA4728AE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1" name="Masterfeld-Class-DE" hidden="1">
            <a:extLst>
              <a:ext uri="{FF2B5EF4-FFF2-40B4-BE49-F238E27FC236}">
                <a16:creationId xmlns:a16="http://schemas.microsoft.com/office/drawing/2014/main" id="{3CC02D7B-F6BC-4A33-921C-E8D701D211CA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8242E24-BED6-488F-89AD-B05C9CBDF5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CB1D918-CD7E-471B-AB88-63E0F844E62F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9A66109-FA20-48C9-8114-DD7A725FE2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5069DFF-5F42-4A6C-9AE0-FCC1F26621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89704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89BDB9-B70F-4B87-A3C1-AFE761FA68B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504B9673-B248-485B-A90A-7C5253EC8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32F9D74A-FBE0-425D-9642-995123835A7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E788FAB4-76CB-4C6D-B621-6A743E02A41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F7E1ACF2-8A1B-4DB6-BE92-3D6012F45AA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947D2E2-B9BD-4867-96BB-0E2A9A80742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C339FBF6-C82F-48A2-A44B-1587C009EB0D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ACC22E2-F21B-4290-B56B-022F9C2C4E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30BD2F-1847-40FB-9D07-D2F2A07011D2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898C5E-943F-4EF0-A433-E752FF2A5D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5EB725-AAD5-4A3E-84A9-A9B8DA2644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32238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7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DF0D21E1-EB11-4E6F-962A-B0C73D3C627E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BC80263E-68F3-4EDE-8FEB-3AE95A63F8E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3301B39-53C0-491B-A5BC-6A8BDE270A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3603E53-C4F3-40F7-98A1-E3F82F641E16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B921106-DB01-4D8D-A080-83711569C4F4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1">
            <a:extLst>
              <a:ext uri="{FF2B5EF4-FFF2-40B4-BE49-F238E27FC236}">
                <a16:creationId xmlns:a16="http://schemas.microsoft.com/office/drawing/2014/main" id="{120426E5-1979-46F0-BD1F-FD44148F322E}"/>
              </a:ext>
            </a:extLst>
          </p:cNvPr>
          <p:cNvCxnSpPr>
            <a:cxnSpLocks/>
          </p:cNvCxnSpPr>
          <p:nvPr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BCD1A06E-AAB2-4C3E-A402-65E534D6F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5251EB-B21B-4850-B76F-AAD6E6E60C0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B5313518-8381-4EBE-B966-3FB299AE889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9B678141-DCD3-441A-A4B8-97BA49CB00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F20B2B3D-1480-4E51-9E7D-83FE04DAC377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85A829C0-D5AF-4F8E-8D53-81488C60B85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Masterfeld-Class-DE" hidden="1">
            <a:extLst>
              <a:ext uri="{FF2B5EF4-FFF2-40B4-BE49-F238E27FC236}">
                <a16:creationId xmlns:a16="http://schemas.microsoft.com/office/drawing/2014/main" id="{A1E7FC13-9662-4FA1-B109-B7035A00C1F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E9A42A0-1A19-435A-8B47-386CD8F86E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061BA46-9516-4ED5-A70D-561518E828F3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F8F3E12-F1E2-43C8-A3EB-23A8F53F44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D80B8F5-B54A-4617-A5A1-FD174C20F1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49490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9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13EC784F-26C5-43EB-88BD-9BB8E2FA7B3F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18F376B-4B06-4196-94C7-4A2666BC7EC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24C2CE10-0B1C-48C8-A880-CC13F7D835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E8FA04C-C292-45BC-ADD3-95542A582B9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6EFF035-90EF-4A7B-BD8C-8A6C7547D522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7540C32-2016-4E0F-8E09-D53276BC9234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308E8A81-A027-4543-8523-E752F8D1E1C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148C2BC-0258-48E0-B33A-97320DC4431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224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405DA933-B4D4-4C2F-BF5A-F679206B99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2088" y="188911"/>
            <a:ext cx="11807827" cy="648017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6BE78A-65F4-415D-80E8-D05EA234AB17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E81FCD45-1C18-444D-A1E1-979102ABCBD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D0EE00A-0F4D-451D-AA50-789E3EDAED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FFE5B38-D327-46AA-8EB6-F08E811A53B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A06B683-E53C-45AB-AFE0-55FD69B94387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247F53-C36C-4439-BD54-7FAC3E3BB7D5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BB8E5DE8-E814-41EF-A4BE-37B85B9C8C73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1926CA4-6EC6-4823-B3AE-5C73E3D31217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0176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9404E723-EA2F-4C7E-916C-DCAA674E15B3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20C446C3-A381-44D7-B090-94E5954647BF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3CA6365-A5B1-49A3-A341-DE4796BEF68C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A7EBC55-77B4-4F0D-BBEC-C59409D8A047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59F2B1-71EC-4B8E-A66F-D79E9DA8573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D13C6B-34CD-4AC1-993E-8BDBB7884FE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FC0BFC7-788E-4E24-9029-89B78C996E5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4F40694-05EA-49FC-996D-80AC0FAD3B1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4247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7988" y="379498"/>
            <a:ext cx="11375997" cy="935994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7987" y="1520791"/>
            <a:ext cx="11375997" cy="4572000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9698400" y="6422400"/>
            <a:ext cx="972000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7AA5DA1E-6869-4A03-AEE2-7761825AD0A1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280576" y="6422400"/>
            <a:ext cx="503411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empower - DO NOT DELETE!!!"/>
          <p:cNvSpPr/>
          <p:nvPr>
            <p:custDataLst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>
            <p:custDataLst>
              <p:tags r:id="rId2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254704-E119-42D2-B731-CE591F07E0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36000" y="6422400"/>
            <a:ext cx="2520000" cy="15044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cxnSp>
        <p:nvCxnSpPr>
          <p:cNvPr id="11" name="Black Line">
            <a:extLst>
              <a:ext uri="{FF2B5EF4-FFF2-40B4-BE49-F238E27FC236}">
                <a16:creationId xmlns:a16="http://schemas.microsoft.com/office/drawing/2014/main" id="{E9378969-696F-42B5-9445-64508D338C85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3DBA5B3A-85CC-4C61-82AD-A382AD3B0038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2459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3532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5" r:id="rId4"/>
    <p:sldLayoutId id="2147483756" r:id="rId5"/>
    <p:sldLayoutId id="2147483757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7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4" r:id="rId22"/>
    <p:sldLayoutId id="2147483775" r:id="rId23"/>
    <p:sldLayoutId id="2147483776" r:id="rId24"/>
    <p:sldLayoutId id="2147483779" r:id="rId25"/>
  </p:sldLayoutIdLst>
  <p:transition>
    <p:fade/>
  </p:transition>
  <p:hf hdr="0"/>
  <p:txStyles>
    <p:titleStyle>
      <a:lvl1pPr algn="l" defTabSz="1219170" rtl="0" eaLnBrk="1" latinLnBrk="0" hangingPunct="1">
        <a:lnSpc>
          <a:spcPct val="95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80975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60000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4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20000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98525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121">
          <p15:clr>
            <a:srgbClr val="F26B43"/>
          </p15:clr>
        </p15:guide>
        <p15:guide id="3" pos="7559">
          <p15:clr>
            <a:srgbClr val="F26B43"/>
          </p15:clr>
        </p15:guide>
        <p15:guide id="4" orient="horz" pos="42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elixir.bootlin.com/" TargetMode="External"/><Relationship Id="rId3" Type="http://schemas.openxmlformats.org/officeDocument/2006/relationships/hyperlink" Target="https://git.kernel.org/" TargetMode="External"/><Relationship Id="rId7" Type="http://schemas.openxmlformats.org/officeDocument/2006/relationships/hyperlink" Target="https://lkml.org/" TargetMode="External"/><Relationship Id="rId2" Type="http://schemas.openxmlformats.org/officeDocument/2006/relationships/hyperlink" Target="https://kernel.org/" TargetMode="External"/><Relationship Id="rId1" Type="http://schemas.openxmlformats.org/officeDocument/2006/relationships/slideLayout" Target="../slideLayouts/slideLayout25.xml"/><Relationship Id="rId6" Type="http://schemas.openxmlformats.org/officeDocument/2006/relationships/hyperlink" Target="https://docs.kernel.org/" TargetMode="External"/><Relationship Id="rId5" Type="http://schemas.openxmlformats.org/officeDocument/2006/relationships/hyperlink" Target="https://github.com/beagleboard/linux" TargetMode="External"/><Relationship Id="rId4" Type="http://schemas.openxmlformats.org/officeDocument/2006/relationships/hyperlink" Target="https://github.com/torvalds/linux" TargetMode="External"/><Relationship Id="rId9" Type="http://schemas.openxmlformats.org/officeDocument/2006/relationships/hyperlink" Target="https://elinux.org/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events19.linuxfoundation.org/wp-content/uploads/2017/11/A-Dive-into-Kbuild-Cao-Jin-Fujitsu.pdf" TargetMode="External"/><Relationship Id="rId2" Type="http://schemas.openxmlformats.org/officeDocument/2006/relationships/hyperlink" Target="https://www.linuxjournal.com/content/kbuild-linux-kernel-build-system" TargetMode="Externa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748DDE-22AC-4993-98C8-1162B36663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/>
              <a:t>Diplomado Linux Embebido – Módulo 4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2279B9-E1B8-4446-B819-F18DD3C381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MX" dirty="0"/>
              <a:t>Configuración y compilación del </a:t>
            </a:r>
            <a:r>
              <a:rPr lang="es-MX" dirty="0" err="1"/>
              <a:t>kernel</a:t>
            </a:r>
            <a:r>
              <a:rPr lang="es-MX" dirty="0"/>
              <a:t> de Linux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FB1EEF-34FE-4B44-AC52-94F1AC20BF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MX" dirty="0"/>
              <a:t>Alan Bautista 2023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4608FC4-9DED-4A67-8256-57A3DA0A44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85041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1A4046-7C0D-405C-BEE9-ABE8AD18F9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arpeta </a:t>
            </a:r>
            <a:r>
              <a:rPr lang="es-MX" dirty="0" err="1"/>
              <a:t>arch</a:t>
            </a:r>
            <a:r>
              <a:rPr lang="es-MX" dirty="0"/>
              <a:t>/</a:t>
            </a:r>
            <a:r>
              <a:rPr lang="es-MX" dirty="0" err="1"/>
              <a:t>arm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C965C8-6F60-4E6A-9073-7A71DDC9CF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118507-A34B-4274-BB0E-FFB71BCECC9B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52685E-00F0-49B9-92BA-F19CCBC825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67CD6-9D87-41C1-AE2E-0E77FE114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0</a:t>
            </a:fld>
            <a:endParaRPr lang="en-US"/>
          </a:p>
        </p:txBody>
      </p:sp>
      <p:pic>
        <p:nvPicPr>
          <p:cNvPr id="14" name="Content Placeholder 13">
            <a:extLst>
              <a:ext uri="{FF2B5EF4-FFF2-40B4-BE49-F238E27FC236}">
                <a16:creationId xmlns:a16="http://schemas.microsoft.com/office/drawing/2014/main" id="{5C45B6F2-AD22-4C5C-82A4-ECD33EBBDC9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453081" y="1222393"/>
            <a:ext cx="1685925" cy="3705225"/>
          </a:xfr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8C21F16-2E43-4490-8546-A0ABCA72381B}"/>
              </a:ext>
            </a:extLst>
          </p:cNvPr>
          <p:cNvSpPr txBox="1"/>
          <p:nvPr/>
        </p:nvSpPr>
        <p:spPr>
          <a:xfrm>
            <a:off x="479376" y="1292706"/>
            <a:ext cx="3528392" cy="120032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Folders más relevantes en el desarrollo (excepto el </a:t>
            </a:r>
            <a:r>
              <a:rPr lang="es-MX" sz="24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core</a:t>
            </a:r>
            <a:r>
              <a:rPr lang="es-MX" sz="2400" dirty="0">
                <a:solidFill>
                  <a:srgbClr val="000000"/>
                </a:solidFill>
                <a:latin typeface="Arial" panose="020B0604020202020204" pitchFamily="34" charset="0"/>
              </a:rPr>
              <a:t> del </a:t>
            </a:r>
            <a:r>
              <a:rPr lang="es-MX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kernel</a:t>
            </a:r>
            <a:r>
              <a:rPr lang="es-MX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3C5BB6B-294A-4589-8752-7FF1F8C6B5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3081" y="5192483"/>
            <a:ext cx="1400175" cy="3048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44AA9A1-30C0-4CF6-81C7-02649AFAAD01}"/>
              </a:ext>
            </a:extLst>
          </p:cNvPr>
          <p:cNvSpPr txBox="1"/>
          <p:nvPr/>
        </p:nvSpPr>
        <p:spPr>
          <a:xfrm>
            <a:off x="5828096" y="5160217"/>
            <a:ext cx="3195072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i="1" dirty="0" err="1">
                <a:solidFill>
                  <a:srgbClr val="000000"/>
                </a:solidFill>
                <a:latin typeface="Arial" panose="020B0604020202020204" pitchFamily="34" charset="0"/>
              </a:rPr>
              <a:t>SoC</a:t>
            </a:r>
            <a:r>
              <a:rPr lang="es-MX" sz="1600" b="0" i="1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usado por </a:t>
            </a:r>
            <a:r>
              <a:rPr lang="es-MX" sz="1600" b="0" i="1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Beagleboard</a:t>
            </a:r>
            <a:endParaRPr lang="en-US" sz="1600" b="0" i="1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CEDE9AC-B4ED-45A8-A069-DA00BDB6D866}"/>
              </a:ext>
            </a:extLst>
          </p:cNvPr>
          <p:cNvSpPr txBox="1"/>
          <p:nvPr/>
        </p:nvSpPr>
        <p:spPr>
          <a:xfrm>
            <a:off x="5374587" y="1945102"/>
            <a:ext cx="3195072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i="1" dirty="0" err="1">
                <a:solidFill>
                  <a:srgbClr val="000000"/>
                </a:solidFill>
                <a:latin typeface="Arial" panose="020B0604020202020204" pitchFamily="34" charset="0"/>
              </a:rPr>
              <a:t>defconfigs</a:t>
            </a:r>
            <a:endParaRPr lang="en-US" sz="1600" b="0" i="1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E3A6785-CC98-452E-A4CC-2F97B0BCFEAD}"/>
              </a:ext>
            </a:extLst>
          </p:cNvPr>
          <p:cNvSpPr txBox="1"/>
          <p:nvPr/>
        </p:nvSpPr>
        <p:spPr>
          <a:xfrm>
            <a:off x="5231904" y="1484784"/>
            <a:ext cx="5588489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i="1" dirty="0" err="1">
                <a:solidFill>
                  <a:srgbClr val="000000"/>
                </a:solidFill>
                <a:latin typeface="Arial" panose="020B0604020202020204" pitchFamily="34" charset="0"/>
              </a:rPr>
              <a:t>device</a:t>
            </a:r>
            <a:r>
              <a:rPr lang="es-MX" sz="1600" i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s-MX" sz="1600" i="1" dirty="0" err="1">
                <a:solidFill>
                  <a:srgbClr val="000000"/>
                </a:solidFill>
                <a:latin typeface="Arial" panose="020B0604020202020204" pitchFamily="34" charset="0"/>
              </a:rPr>
              <a:t>tree</a:t>
            </a:r>
            <a:r>
              <a:rPr lang="es-MX" sz="1600" i="1" dirty="0">
                <a:solidFill>
                  <a:srgbClr val="000000"/>
                </a:solidFill>
                <a:latin typeface="Arial" panose="020B0604020202020204" pitchFamily="34" charset="0"/>
              </a:rPr>
              <a:t>, imágenes del </a:t>
            </a:r>
            <a:r>
              <a:rPr lang="es-MX" sz="1600" i="1" dirty="0" err="1">
                <a:solidFill>
                  <a:srgbClr val="000000"/>
                </a:solidFill>
                <a:latin typeface="Arial" panose="020B0604020202020204" pitchFamily="34" charset="0"/>
              </a:rPr>
              <a:t>kernel</a:t>
            </a:r>
            <a:r>
              <a:rPr lang="es-MX" sz="1600" i="1" dirty="0">
                <a:solidFill>
                  <a:srgbClr val="000000"/>
                </a:solidFill>
                <a:latin typeface="Arial" panose="020B0604020202020204" pitchFamily="34" charset="0"/>
              </a:rPr>
              <a:t>, rutinas específicas del hw</a:t>
            </a:r>
            <a:endParaRPr lang="en-US" sz="1600" b="0" i="1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2242E85-C629-4897-8ADA-0769C470BDEE}"/>
              </a:ext>
            </a:extLst>
          </p:cNvPr>
          <p:cNvSpPr txBox="1"/>
          <p:nvPr/>
        </p:nvSpPr>
        <p:spPr>
          <a:xfrm>
            <a:off x="5375920" y="2433545"/>
            <a:ext cx="3564396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b="0" i="1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includes</a:t>
            </a:r>
            <a:r>
              <a:rPr lang="es-MX" sz="1600" b="0" i="1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específicos de arquitectura</a:t>
            </a:r>
            <a:endParaRPr lang="en-US" sz="1600" b="0" i="1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287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3C760-2CF9-4F41-9FD4-608B88565E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Board</a:t>
            </a:r>
            <a:r>
              <a:rPr lang="es-MX" dirty="0"/>
              <a:t> </a:t>
            </a:r>
            <a:r>
              <a:rPr lang="es-MX" dirty="0" err="1"/>
              <a:t>Support</a:t>
            </a:r>
            <a:r>
              <a:rPr lang="es-MX" dirty="0"/>
              <a:t> </a:t>
            </a:r>
            <a:r>
              <a:rPr lang="es-MX" dirty="0" err="1"/>
              <a:t>Package</a:t>
            </a:r>
            <a:r>
              <a:rPr lang="es-MX" dirty="0"/>
              <a:t> (BSP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54CF46-A351-47D1-90FA-A6EA0E386D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Conjunto de información (software, herramientas) que permite el soporte de un dispositivo o plataforma de hardware específica en un sistema operativo. Proporcionado por el fabricante.</a:t>
            </a:r>
          </a:p>
          <a:p>
            <a:pPr lvl="1"/>
            <a:r>
              <a:rPr lang="en-US" dirty="0"/>
              <a:t>Boot firmware (</a:t>
            </a:r>
            <a:r>
              <a:rPr lang="en-US" dirty="0" err="1"/>
              <a:t>inicialización</a:t>
            </a:r>
            <a:r>
              <a:rPr lang="en-US" dirty="0"/>
              <a:t> del CPU, </a:t>
            </a:r>
            <a:r>
              <a:rPr lang="en-US" dirty="0" err="1"/>
              <a:t>inicialización</a:t>
            </a:r>
            <a:r>
              <a:rPr lang="en-US" dirty="0"/>
              <a:t> de RAM, etc.)</a:t>
            </a:r>
          </a:p>
          <a:p>
            <a:pPr lvl="1"/>
            <a:r>
              <a:rPr lang="en-US" dirty="0"/>
              <a:t>Kernel configuration</a:t>
            </a:r>
          </a:p>
          <a:p>
            <a:pPr lvl="1"/>
            <a:r>
              <a:rPr lang="en-US" dirty="0"/>
              <a:t>Kernel drivers</a:t>
            </a:r>
          </a:p>
          <a:p>
            <a:pPr lvl="1"/>
            <a:endParaRPr lang="en-US" dirty="0"/>
          </a:p>
          <a:p>
            <a:r>
              <a:rPr lang="en-US" dirty="0" err="1"/>
              <a:t>Pueden</a:t>
            </a:r>
            <a:r>
              <a:rPr lang="en-US" dirty="0"/>
              <a:t> ser parches para un </a:t>
            </a:r>
            <a:r>
              <a:rPr lang="en-US" dirty="0" err="1"/>
              <a:t>código</a:t>
            </a:r>
            <a:r>
              <a:rPr lang="en-US" dirty="0"/>
              <a:t> </a:t>
            </a:r>
            <a:r>
              <a:rPr lang="en-US" dirty="0" err="1"/>
              <a:t>fuente</a:t>
            </a:r>
            <a:r>
              <a:rPr lang="en-US" dirty="0"/>
              <a:t> </a:t>
            </a:r>
            <a:r>
              <a:rPr lang="en-US" i="1" dirty="0"/>
              <a:t>vanilla</a:t>
            </a:r>
          </a:p>
          <a:p>
            <a:r>
              <a:rPr lang="en-US" dirty="0"/>
              <a:t>Es </a:t>
            </a:r>
            <a:r>
              <a:rPr lang="en-US" dirty="0" err="1"/>
              <a:t>generalmente</a:t>
            </a:r>
            <a:r>
              <a:rPr lang="en-US" dirty="0"/>
              <a:t> configurable</a:t>
            </a:r>
          </a:p>
          <a:p>
            <a:r>
              <a:rPr lang="en-US" dirty="0" err="1"/>
              <a:t>Adicionalmente</a:t>
            </a:r>
            <a:r>
              <a:rPr lang="en-US" dirty="0"/>
              <a:t>, se </a:t>
            </a:r>
            <a:r>
              <a:rPr lang="en-US" dirty="0" err="1"/>
              <a:t>suelen</a:t>
            </a:r>
            <a:r>
              <a:rPr lang="en-US" dirty="0"/>
              <a:t> </a:t>
            </a:r>
            <a:r>
              <a:rPr lang="en-US" dirty="0" err="1"/>
              <a:t>incluír</a:t>
            </a:r>
            <a:r>
              <a:rPr lang="en-US" dirty="0"/>
              <a:t> </a:t>
            </a:r>
            <a:r>
              <a:rPr lang="en-US" dirty="0" err="1"/>
              <a:t>herramientas</a:t>
            </a:r>
            <a:r>
              <a:rPr lang="en-US" dirty="0"/>
              <a:t> para </a:t>
            </a: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desarrollo</a:t>
            </a:r>
            <a:r>
              <a:rPr lang="en-US" dirty="0"/>
              <a:t> </a:t>
            </a:r>
            <a:r>
              <a:rPr lang="en-US" dirty="0" err="1"/>
              <a:t>como</a:t>
            </a:r>
            <a:r>
              <a:rPr lang="en-US" dirty="0"/>
              <a:t> toolchains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69E99F-3FD8-42C3-ADAB-5DBB1D9EE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991209-63D3-4255-A3D5-96AA2568BB31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022FD-66C7-45D7-81FA-5056E35E5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36982A-A9F3-4709-BEC3-698580BA5E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6110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DB84645-5F52-49A0-9E71-7A029F2EF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nfiguración del código fuent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D804B6-5D5C-44A9-A808-0630835B8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62AF3-4A1C-4661-8CD8-4424E0626E6D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7F61D-D23F-495B-A1E7-B2F66A495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729129-A83B-41D3-AB9F-08705178B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92455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D18A8-B5BF-480D-85A7-C7303C64B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Kbuild</a:t>
            </a:r>
            <a:r>
              <a:rPr lang="es-MX" dirty="0"/>
              <a:t> &amp; </a:t>
            </a:r>
            <a:r>
              <a:rPr lang="es-MX" dirty="0" err="1"/>
              <a:t>Kconfig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98053B-AEF0-4682-91C5-2F78BBBDB2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s-MX" dirty="0" err="1"/>
              <a:t>Kbuild</a:t>
            </a:r>
            <a:r>
              <a:rPr lang="es-MX" dirty="0"/>
              <a:t>:</a:t>
            </a:r>
          </a:p>
          <a:p>
            <a:pPr lvl="1"/>
            <a:r>
              <a:rPr lang="es-MX" dirty="0"/>
              <a:t>Infraestructura de compilación, útil en software muy complejo y modular, como el </a:t>
            </a:r>
            <a:r>
              <a:rPr lang="es-MX" dirty="0" err="1"/>
              <a:t>kernel</a:t>
            </a:r>
            <a:r>
              <a:rPr lang="es-MX" dirty="0"/>
              <a:t> de Linux.</a:t>
            </a:r>
          </a:p>
          <a:p>
            <a:pPr lvl="1"/>
            <a:r>
              <a:rPr lang="es-MX" dirty="0"/>
              <a:t>Configuración de software basado en selección (activar/desactivar características) =&gt; compilación condicional</a:t>
            </a:r>
          </a:p>
          <a:p>
            <a:pPr lvl="1"/>
            <a:r>
              <a:rPr lang="es-MX" b="1" dirty="0" err="1"/>
              <a:t>Make</a:t>
            </a:r>
            <a:r>
              <a:rPr lang="es-MX" b="1" dirty="0"/>
              <a:t> + </a:t>
            </a:r>
            <a:r>
              <a:rPr lang="es-MX" b="1" dirty="0" err="1"/>
              <a:t>Kconfig</a:t>
            </a:r>
            <a:endParaRPr lang="es-MX" b="1" dirty="0"/>
          </a:p>
          <a:p>
            <a:pPr lvl="1"/>
            <a:endParaRPr lang="es-MX" dirty="0"/>
          </a:p>
          <a:p>
            <a:r>
              <a:rPr lang="es-MX" dirty="0" err="1"/>
              <a:t>Kconfig</a:t>
            </a:r>
            <a:r>
              <a:rPr lang="es-MX" dirty="0"/>
              <a:t>:</a:t>
            </a:r>
          </a:p>
          <a:p>
            <a:pPr lvl="1"/>
            <a:r>
              <a:rPr lang="es-MX" dirty="0"/>
              <a:t>Descripción de las </a:t>
            </a:r>
            <a:r>
              <a:rPr lang="es-MX" b="1" dirty="0"/>
              <a:t>configuraciones </a:t>
            </a:r>
            <a:r>
              <a:rPr lang="es-MX" dirty="0"/>
              <a:t>(en un archivo llamado </a:t>
            </a:r>
            <a:r>
              <a:rPr lang="es-MX" dirty="0" err="1"/>
              <a:t>Kconfig</a:t>
            </a:r>
            <a:r>
              <a:rPr lang="es-MX" dirty="0"/>
              <a:t>) que se utilizarán en tiempo de compilación para definir:</a:t>
            </a:r>
          </a:p>
          <a:p>
            <a:pPr lvl="2"/>
            <a:r>
              <a:rPr lang="es-MX" dirty="0"/>
              <a:t>Dependencias (</a:t>
            </a:r>
            <a:r>
              <a:rPr lang="es-MX" dirty="0" err="1"/>
              <a:t>depends</a:t>
            </a:r>
            <a:r>
              <a:rPr lang="es-MX" dirty="0"/>
              <a:t>/</a:t>
            </a:r>
            <a:r>
              <a:rPr lang="es-MX" dirty="0" err="1"/>
              <a:t>select</a:t>
            </a:r>
            <a:r>
              <a:rPr lang="es-MX" dirty="0"/>
              <a:t>)</a:t>
            </a:r>
          </a:p>
          <a:p>
            <a:pPr lvl="2"/>
            <a:r>
              <a:rPr lang="es-MX" dirty="0"/>
              <a:t>Tipos (</a:t>
            </a:r>
            <a:r>
              <a:rPr lang="es-MX" dirty="0" err="1"/>
              <a:t>bool</a:t>
            </a:r>
            <a:r>
              <a:rPr lang="es-MX" dirty="0"/>
              <a:t>/</a:t>
            </a:r>
            <a:r>
              <a:rPr lang="es-MX" dirty="0" err="1"/>
              <a:t>tristate</a:t>
            </a:r>
            <a:r>
              <a:rPr lang="es-MX" dirty="0"/>
              <a:t>/</a:t>
            </a:r>
            <a:r>
              <a:rPr lang="es-MX" dirty="0" err="1"/>
              <a:t>string</a:t>
            </a:r>
            <a:r>
              <a:rPr lang="es-MX" dirty="0"/>
              <a:t>, etc.)</a:t>
            </a:r>
          </a:p>
          <a:p>
            <a:pPr lvl="2"/>
            <a:r>
              <a:rPr lang="es-MX" dirty="0"/>
              <a:t>Valores por defecto (default)</a:t>
            </a:r>
          </a:p>
          <a:p>
            <a:pPr lvl="2"/>
            <a:r>
              <a:rPr lang="es-MX" dirty="0"/>
              <a:t>Descripción de la característica (</a:t>
            </a:r>
            <a:r>
              <a:rPr lang="es-MX" dirty="0" err="1"/>
              <a:t>help</a:t>
            </a:r>
            <a:r>
              <a:rPr lang="es-MX" dirty="0"/>
              <a:t>)</a:t>
            </a:r>
          </a:p>
          <a:p>
            <a:pPr lvl="2"/>
            <a:r>
              <a:rPr lang="es-MX" dirty="0"/>
              <a:t>Subdirectorios</a:t>
            </a:r>
          </a:p>
          <a:p>
            <a:pPr lvl="1"/>
            <a:endParaRPr lang="es-MX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EA6C84-6055-48FB-86DB-12A06F9BE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4BE8E-501B-4997-9CF7-2AA90F44F873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4FD57A-EBA6-4742-B000-815B63F0B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A68577-2145-4795-8889-2EE2B4C5A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2694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5CDF4F-3BD7-04E3-D5D5-63A689D15E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nfiguración y </a:t>
            </a:r>
            <a:r>
              <a:rPr lang="es-MX" dirty="0" err="1"/>
              <a:t>Makefil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03BEA3-1568-C5E6-8484-943DC8CE5A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Los elementos que componen la infraestructura de </a:t>
            </a:r>
            <a:r>
              <a:rPr lang="es-MX" dirty="0" err="1"/>
              <a:t>Kbuild</a:t>
            </a:r>
            <a:r>
              <a:rPr lang="es-MX" dirty="0"/>
              <a:t> en el código fuente de Linux son principalmente:</a:t>
            </a:r>
          </a:p>
          <a:p>
            <a:endParaRPr lang="es-MX" dirty="0"/>
          </a:p>
          <a:p>
            <a:r>
              <a:rPr lang="es-MX" dirty="0" err="1"/>
              <a:t>Makefile</a:t>
            </a:r>
            <a:r>
              <a:rPr lang="es-MX" dirty="0"/>
              <a:t> =&gt; </a:t>
            </a:r>
            <a:r>
              <a:rPr lang="es-MX" dirty="0" err="1"/>
              <a:t>Makefile</a:t>
            </a:r>
            <a:r>
              <a:rPr lang="es-MX" dirty="0"/>
              <a:t> principal, ubicado en el directorio raíz del código fuente</a:t>
            </a:r>
          </a:p>
          <a:p>
            <a:r>
              <a:rPr lang="es-MX" dirty="0"/>
              <a:t>.</a:t>
            </a:r>
            <a:r>
              <a:rPr lang="es-MX" dirty="0" err="1"/>
              <a:t>config</a:t>
            </a:r>
            <a:r>
              <a:rPr lang="es-MX" dirty="0"/>
              <a:t> =&gt; Archivo de configuración necesario para la compilación</a:t>
            </a:r>
          </a:p>
          <a:p>
            <a:r>
              <a:rPr lang="es-MX" dirty="0" err="1"/>
              <a:t>arch</a:t>
            </a:r>
            <a:r>
              <a:rPr lang="es-MX" dirty="0"/>
              <a:t>/$(ARCH)/</a:t>
            </a:r>
            <a:r>
              <a:rPr lang="es-MX" dirty="0" err="1"/>
              <a:t>Makefile</a:t>
            </a:r>
            <a:r>
              <a:rPr lang="es-MX" dirty="0"/>
              <a:t> =&gt; </a:t>
            </a:r>
            <a:r>
              <a:rPr lang="es-MX" dirty="0" err="1"/>
              <a:t>Makefile</a:t>
            </a:r>
            <a:r>
              <a:rPr lang="es-MX" dirty="0"/>
              <a:t> correspondiente a la arquitectura</a:t>
            </a:r>
          </a:p>
          <a:p>
            <a:r>
              <a:rPr lang="es-MX" dirty="0"/>
              <a:t>scripts/</a:t>
            </a:r>
            <a:r>
              <a:rPr lang="es-MX" dirty="0" err="1"/>
              <a:t>Makefile</a:t>
            </a:r>
            <a:r>
              <a:rPr lang="es-MX" dirty="0"/>
              <a:t> =&gt; Reglas comunes para todos los </a:t>
            </a:r>
            <a:r>
              <a:rPr lang="es-MX" dirty="0" err="1"/>
              <a:t>Kbuild</a:t>
            </a:r>
            <a:r>
              <a:rPr lang="es-MX" dirty="0"/>
              <a:t> </a:t>
            </a:r>
            <a:r>
              <a:rPr lang="es-MX" dirty="0" err="1"/>
              <a:t>Makefiles</a:t>
            </a:r>
            <a:endParaRPr lang="es-MX" dirty="0"/>
          </a:p>
          <a:p>
            <a:r>
              <a:rPr lang="es-MX" dirty="0" err="1"/>
              <a:t>kbuild</a:t>
            </a:r>
            <a:r>
              <a:rPr lang="es-MX" dirty="0"/>
              <a:t> </a:t>
            </a:r>
            <a:r>
              <a:rPr lang="es-MX" dirty="0" err="1"/>
              <a:t>Makefiles</a:t>
            </a:r>
            <a:r>
              <a:rPr lang="es-MX" dirty="0"/>
              <a:t> =&gt; </a:t>
            </a:r>
            <a:r>
              <a:rPr lang="es-MX" dirty="0" err="1"/>
              <a:t>Makefiles</a:t>
            </a:r>
            <a:r>
              <a:rPr lang="es-MX" dirty="0"/>
              <a:t> en cada subdirectorio</a:t>
            </a:r>
          </a:p>
          <a:p>
            <a:endParaRPr lang="es-MX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13E2AF-5DA6-2BD3-0865-7A4221A8A8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1F932-CBFF-438E-BF21-1484598840F6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E82BB6-8C8D-BE06-BC38-85EBD592D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40B453-8B3E-6E38-296E-290C0D62D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0087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86E256-9465-42B2-DC1F-3AB47225A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kbuild</a:t>
            </a:r>
            <a:r>
              <a:rPr lang="es-MX" dirty="0"/>
              <a:t> </a:t>
            </a:r>
            <a:r>
              <a:rPr lang="es-MX" dirty="0" err="1"/>
              <a:t>Makefil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9D5BE4-0E33-D633-3B59-E2374CE728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s-MX" dirty="0" err="1"/>
              <a:t>Goals</a:t>
            </a:r>
            <a:r>
              <a:rPr lang="es-MX" dirty="0"/>
              <a:t>:</a:t>
            </a:r>
          </a:p>
          <a:p>
            <a:pPr lvl="1"/>
            <a:r>
              <a:rPr lang="es-MX" dirty="0"/>
              <a:t>Parte principal de un </a:t>
            </a:r>
            <a:r>
              <a:rPr lang="es-MX" dirty="0" err="1"/>
              <a:t>kbuild</a:t>
            </a:r>
            <a:r>
              <a:rPr lang="es-MX" dirty="0"/>
              <a:t> </a:t>
            </a:r>
            <a:r>
              <a:rPr lang="es-MX" dirty="0" err="1"/>
              <a:t>Makefile</a:t>
            </a:r>
            <a:r>
              <a:rPr lang="es-MX" dirty="0"/>
              <a:t>, pueden ser </a:t>
            </a:r>
            <a:r>
              <a:rPr lang="es-MX" dirty="0" err="1"/>
              <a:t>built</a:t>
            </a:r>
            <a:r>
              <a:rPr lang="es-MX" dirty="0"/>
              <a:t>-in, module o configurables.</a:t>
            </a:r>
          </a:p>
          <a:p>
            <a:pPr lvl="1"/>
            <a:r>
              <a:rPr lang="es-MX" dirty="0"/>
              <a:t>Definen los archivos a compilar, banderas de compilación, subdirectorios, etc.</a:t>
            </a:r>
          </a:p>
          <a:p>
            <a:pPr lvl="1"/>
            <a:endParaRPr lang="es-MX" dirty="0"/>
          </a:p>
          <a:p>
            <a:r>
              <a:rPr lang="es-MX" dirty="0" err="1"/>
              <a:t>Built</a:t>
            </a:r>
            <a:r>
              <a:rPr lang="es-MX" dirty="0"/>
              <a:t>-in </a:t>
            </a:r>
            <a:r>
              <a:rPr lang="es-MX" dirty="0" err="1"/>
              <a:t>goals</a:t>
            </a:r>
            <a:r>
              <a:rPr lang="es-MX" dirty="0"/>
              <a:t>: </a:t>
            </a:r>
          </a:p>
          <a:p>
            <a:pPr lvl="1"/>
            <a:r>
              <a:rPr lang="es-MX" i="1" dirty="0" err="1"/>
              <a:t>obj</a:t>
            </a:r>
            <a:r>
              <a:rPr lang="es-MX" i="1" dirty="0"/>
              <a:t>-</a:t>
            </a:r>
            <a:r>
              <a:rPr lang="es-MX" b="1" i="1" dirty="0"/>
              <a:t>y</a:t>
            </a:r>
            <a:r>
              <a:rPr lang="es-MX" i="1" dirty="0"/>
              <a:t> += </a:t>
            </a:r>
            <a:r>
              <a:rPr lang="es-MX" i="1" dirty="0" err="1"/>
              <a:t>foo.o</a:t>
            </a:r>
            <a:r>
              <a:rPr lang="es-MX" i="1" dirty="0"/>
              <a:t> </a:t>
            </a:r>
            <a:r>
              <a:rPr lang="es-MX" dirty="0"/>
              <a:t>=&gt; Indica a </a:t>
            </a:r>
            <a:r>
              <a:rPr lang="es-MX" dirty="0" err="1"/>
              <a:t>Kbuild</a:t>
            </a:r>
            <a:r>
              <a:rPr lang="es-MX" dirty="0"/>
              <a:t> que existe un archivo fuente </a:t>
            </a:r>
            <a:r>
              <a:rPr lang="es-MX" dirty="0" err="1"/>
              <a:t>foo.c</a:t>
            </a:r>
            <a:r>
              <a:rPr lang="es-MX" dirty="0"/>
              <a:t> o </a:t>
            </a:r>
            <a:r>
              <a:rPr lang="es-MX" dirty="0" err="1"/>
              <a:t>foo.s</a:t>
            </a:r>
            <a:r>
              <a:rPr lang="es-MX" dirty="0"/>
              <a:t> para generar </a:t>
            </a:r>
            <a:r>
              <a:rPr lang="es-MX" dirty="0" err="1"/>
              <a:t>foo.o</a:t>
            </a:r>
            <a:r>
              <a:rPr lang="es-MX" dirty="0"/>
              <a:t>. Después genera un archive (.a) para enlazar estáticamente</a:t>
            </a:r>
            <a:endParaRPr lang="es-MX" i="1" dirty="0"/>
          </a:p>
          <a:p>
            <a:pPr marL="179025" lvl="1" indent="0">
              <a:buNone/>
            </a:pPr>
            <a:endParaRPr lang="es-MX" i="1" dirty="0"/>
          </a:p>
          <a:p>
            <a:r>
              <a:rPr lang="es-MX" dirty="0"/>
              <a:t>Module </a:t>
            </a:r>
            <a:r>
              <a:rPr lang="es-MX" dirty="0" err="1"/>
              <a:t>goals</a:t>
            </a:r>
            <a:r>
              <a:rPr lang="es-MX" dirty="0"/>
              <a:t>:</a:t>
            </a:r>
          </a:p>
          <a:p>
            <a:pPr lvl="1"/>
            <a:r>
              <a:rPr lang="es-MX" i="1" dirty="0" err="1"/>
              <a:t>obj</a:t>
            </a:r>
            <a:r>
              <a:rPr lang="es-MX" i="1" dirty="0"/>
              <a:t>-</a:t>
            </a:r>
            <a:r>
              <a:rPr lang="es-MX" b="1" i="1" dirty="0"/>
              <a:t>m</a:t>
            </a:r>
            <a:r>
              <a:rPr lang="es-MX" i="1" dirty="0"/>
              <a:t> 	    += </a:t>
            </a:r>
            <a:r>
              <a:rPr lang="es-MX" i="1" dirty="0" err="1"/>
              <a:t>usbserial.o</a:t>
            </a:r>
            <a:endParaRPr lang="es-MX" i="1" dirty="0"/>
          </a:p>
          <a:p>
            <a:pPr lvl="1"/>
            <a:r>
              <a:rPr lang="es-MX" i="1" dirty="0" err="1"/>
              <a:t>usbserial</a:t>
            </a:r>
            <a:r>
              <a:rPr lang="es-MX" i="1" dirty="0"/>
              <a:t>-y += </a:t>
            </a:r>
            <a:r>
              <a:rPr lang="es-MX" i="1" dirty="0" err="1"/>
              <a:t>usb-serial.o</a:t>
            </a:r>
            <a:r>
              <a:rPr lang="es-MX" i="1" dirty="0"/>
              <a:t> </a:t>
            </a:r>
            <a:r>
              <a:rPr lang="es-MX" i="1" dirty="0" err="1"/>
              <a:t>bus.o</a:t>
            </a:r>
            <a:r>
              <a:rPr lang="es-MX" i="1" dirty="0"/>
              <a:t> </a:t>
            </a:r>
          </a:p>
          <a:p>
            <a:pPr lvl="2"/>
            <a:r>
              <a:rPr lang="es-MX" i="1" dirty="0"/>
              <a:t>=&gt; </a:t>
            </a:r>
            <a:r>
              <a:rPr lang="es-MX" dirty="0" err="1"/>
              <a:t>Kbuild</a:t>
            </a:r>
            <a:r>
              <a:rPr lang="es-MX" dirty="0"/>
              <a:t> generará </a:t>
            </a:r>
            <a:r>
              <a:rPr lang="es-MX" dirty="0" err="1"/>
              <a:t>usb-serial.o</a:t>
            </a:r>
            <a:r>
              <a:rPr lang="es-MX" dirty="0"/>
              <a:t> y </a:t>
            </a:r>
            <a:r>
              <a:rPr lang="es-MX" dirty="0" err="1"/>
              <a:t>bus.o</a:t>
            </a:r>
            <a:r>
              <a:rPr lang="es-MX" dirty="0"/>
              <a:t> y los enlazará para generar </a:t>
            </a:r>
            <a:r>
              <a:rPr lang="es-MX" dirty="0" err="1"/>
              <a:t>usbserial.o</a:t>
            </a:r>
            <a:r>
              <a:rPr lang="es-MX" dirty="0"/>
              <a:t> para después construir el módulo (</a:t>
            </a:r>
            <a:r>
              <a:rPr lang="es-MX" dirty="0" err="1"/>
              <a:t>usbserial.ko</a:t>
            </a:r>
            <a:r>
              <a:rPr lang="es-MX" dirty="0"/>
              <a:t>)</a:t>
            </a:r>
          </a:p>
          <a:p>
            <a:pPr lvl="1"/>
            <a:endParaRPr lang="es-MX" dirty="0"/>
          </a:p>
          <a:p>
            <a:r>
              <a:rPr lang="es-MX" dirty="0"/>
              <a:t>Usando variables como configuraciones (definidas en archivo .</a:t>
            </a:r>
            <a:r>
              <a:rPr lang="es-MX" dirty="0" err="1"/>
              <a:t>config</a:t>
            </a:r>
            <a:r>
              <a:rPr lang="es-MX" dirty="0"/>
              <a:t>):</a:t>
            </a:r>
          </a:p>
          <a:p>
            <a:pPr lvl="1"/>
            <a:r>
              <a:rPr lang="es-MX" dirty="0"/>
              <a:t>Ejemplo: </a:t>
            </a:r>
            <a:r>
              <a:rPr lang="en-US" i="1" dirty="0"/>
              <a:t>obj-$(</a:t>
            </a:r>
            <a:r>
              <a:rPr lang="en-US" b="1" i="1" dirty="0"/>
              <a:t>CONFIG_FOO</a:t>
            </a:r>
            <a:r>
              <a:rPr lang="en-US" i="1" dirty="0"/>
              <a:t>) += </a:t>
            </a:r>
            <a:r>
              <a:rPr lang="en-US" i="1" dirty="0" err="1"/>
              <a:t>foo.o</a:t>
            </a:r>
            <a:r>
              <a:rPr lang="en-US" i="1" dirty="0"/>
              <a:t> =&gt; </a:t>
            </a:r>
            <a:r>
              <a:rPr lang="en-US" dirty="0"/>
              <a:t>CONFIG_FOO </a:t>
            </a:r>
            <a:r>
              <a:rPr lang="en-US" dirty="0" err="1"/>
              <a:t>debe</a:t>
            </a:r>
            <a:r>
              <a:rPr lang="en-US" dirty="0"/>
              <a:t> ser “y” o “m”, </a:t>
            </a:r>
            <a:r>
              <a:rPr lang="en-US" dirty="0" err="1"/>
              <a:t>si</a:t>
            </a:r>
            <a:r>
              <a:rPr lang="en-US" dirty="0"/>
              <a:t> no make lo </a:t>
            </a:r>
            <a:r>
              <a:rPr lang="en-US" dirty="0" err="1"/>
              <a:t>descartará</a:t>
            </a:r>
            <a:endParaRPr lang="es-MX" dirty="0"/>
          </a:p>
          <a:p>
            <a:pPr marL="179025" lvl="1" indent="0">
              <a:buNone/>
            </a:pPr>
            <a:endParaRPr lang="es-MX" dirty="0"/>
          </a:p>
          <a:p>
            <a:endParaRPr lang="es-MX" dirty="0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9D551F-5D7A-4785-B4D2-D11FEC26C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C0ED1-201C-4800-80E6-F5F530C399F7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FAE0B2-C664-D692-87B0-A75F696E3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9F395-9A54-F095-6430-18E1AB1C0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5820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A8ACE-29BB-B8D0-6780-7CB23B6726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Banderas de CC (CFLAGS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078771-3F72-F6F2-F741-CCB0FBD601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Global: KBUILD_CFLAGS</a:t>
            </a:r>
          </a:p>
          <a:p>
            <a:endParaRPr lang="en-US" dirty="0"/>
          </a:p>
          <a:p>
            <a:r>
              <a:rPr lang="en-US" i="1" dirty="0"/>
              <a:t>cc-flags-y </a:t>
            </a:r>
            <a:r>
              <a:rPr lang="en-US" dirty="0"/>
              <a:t>=&gt; Directorio actual</a:t>
            </a:r>
            <a:endParaRPr lang="en-US" i="1" dirty="0"/>
          </a:p>
          <a:p>
            <a:r>
              <a:rPr lang="en-US" i="1" dirty="0"/>
              <a:t>subdir-</a:t>
            </a:r>
            <a:r>
              <a:rPr lang="en-US" i="1" dirty="0" err="1"/>
              <a:t>ccflags</a:t>
            </a:r>
            <a:r>
              <a:rPr lang="en-US" i="1" dirty="0"/>
              <a:t>-y </a:t>
            </a:r>
            <a:r>
              <a:rPr lang="en-US" dirty="0"/>
              <a:t>=&gt; Directorio actual y </a:t>
            </a:r>
            <a:r>
              <a:rPr lang="en-US" dirty="0" err="1"/>
              <a:t>subdirectorios</a:t>
            </a:r>
            <a:endParaRPr lang="en-US" dirty="0"/>
          </a:p>
          <a:p>
            <a:endParaRPr lang="en-US" i="1" dirty="0"/>
          </a:p>
          <a:p>
            <a:r>
              <a:rPr lang="en-US" dirty="0" err="1"/>
              <a:t>Ejemplo</a:t>
            </a:r>
            <a:r>
              <a:rPr lang="en-US" dirty="0"/>
              <a:t>:</a:t>
            </a:r>
          </a:p>
          <a:p>
            <a:endParaRPr lang="en-US" dirty="0"/>
          </a:p>
          <a:p>
            <a:r>
              <a:rPr lang="en-US" i="1" dirty="0"/>
              <a:t>cc-flags-y  :=  -Wall -</a:t>
            </a:r>
            <a:r>
              <a:rPr lang="en-US" i="1" dirty="0" err="1"/>
              <a:t>Werror</a:t>
            </a:r>
            <a:endParaRPr lang="en-US" i="1" dirty="0"/>
          </a:p>
          <a:p>
            <a:r>
              <a:rPr lang="en-US" i="1" dirty="0"/>
              <a:t>obj-y :=  </a:t>
            </a:r>
            <a:r>
              <a:rPr lang="en-US" i="1" dirty="0" err="1"/>
              <a:t>mydev.o</a:t>
            </a:r>
            <a:endParaRPr lang="en-US" i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F18A30-8726-0708-0BD0-1F04E5064C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550D3-6B06-4239-9415-8E74C24A56F8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23F6B6-6D1D-ECA4-EB96-7385AE34A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7184D5-895A-89A8-1D74-05625351A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7731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3C760-2CF9-4F41-9FD4-608B88565E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Archivo .</a:t>
            </a:r>
            <a:r>
              <a:rPr lang="es-MX" dirty="0" err="1"/>
              <a:t>config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54CF46-A351-47D1-90FA-A6EA0E386D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.</a:t>
            </a:r>
            <a:r>
              <a:rPr lang="es-MX" dirty="0" err="1"/>
              <a:t>config</a:t>
            </a:r>
            <a:r>
              <a:rPr lang="es-MX" dirty="0"/>
              <a:t> :</a:t>
            </a:r>
          </a:p>
          <a:p>
            <a:pPr lvl="1"/>
            <a:r>
              <a:rPr lang="es-MX" dirty="0"/>
              <a:t>Contiene todas la configuraciones del </a:t>
            </a:r>
            <a:r>
              <a:rPr lang="es-MX" dirty="0" err="1"/>
              <a:t>kernel</a:t>
            </a:r>
            <a:r>
              <a:rPr lang="es-MX" dirty="0"/>
              <a:t>.</a:t>
            </a:r>
          </a:p>
          <a:p>
            <a:pPr lvl="1"/>
            <a:r>
              <a:rPr lang="es-MX" b="1" dirty="0"/>
              <a:t>Necesario</a:t>
            </a:r>
            <a:r>
              <a:rPr lang="es-MX" dirty="0"/>
              <a:t> para la compilación.</a:t>
            </a:r>
          </a:p>
          <a:p>
            <a:pPr lvl="1"/>
            <a:r>
              <a:rPr lang="es-MX" dirty="0"/>
              <a:t>Se puede generar/editar a partir de *</a:t>
            </a:r>
            <a:r>
              <a:rPr lang="es-MX" dirty="0" err="1"/>
              <a:t>config</a:t>
            </a:r>
            <a:r>
              <a:rPr lang="es-MX" dirty="0"/>
              <a:t>: </a:t>
            </a:r>
            <a:r>
              <a:rPr lang="es-MX" dirty="0" err="1"/>
              <a:t>menuconfig</a:t>
            </a:r>
            <a:r>
              <a:rPr lang="es-MX" dirty="0"/>
              <a:t>, </a:t>
            </a:r>
            <a:r>
              <a:rPr lang="es-MX" dirty="0" err="1"/>
              <a:t>defconfig</a:t>
            </a:r>
            <a:r>
              <a:rPr lang="es-MX" dirty="0"/>
              <a:t>, </a:t>
            </a:r>
            <a:r>
              <a:rPr lang="es-MX" dirty="0" err="1"/>
              <a:t>oldconfig</a:t>
            </a:r>
            <a:r>
              <a:rPr lang="es-MX" dirty="0"/>
              <a:t>, etc.</a:t>
            </a:r>
          </a:p>
          <a:p>
            <a:pPr lvl="1"/>
            <a:r>
              <a:rPr lang="es-MX" dirty="0"/>
              <a:t>En ocasiones, un </a:t>
            </a:r>
            <a:r>
              <a:rPr lang="es-MX" dirty="0" err="1"/>
              <a:t>archvivo</a:t>
            </a:r>
            <a:r>
              <a:rPr lang="es-MX" dirty="0"/>
              <a:t> de configuración se guarda en el </a:t>
            </a:r>
            <a:r>
              <a:rPr lang="es-MX" dirty="0" err="1"/>
              <a:t>root</a:t>
            </a:r>
            <a:r>
              <a:rPr lang="es-MX" dirty="0"/>
              <a:t> </a:t>
            </a:r>
            <a:r>
              <a:rPr lang="es-MX" dirty="0" err="1"/>
              <a:t>filesystem</a:t>
            </a:r>
            <a:r>
              <a:rPr lang="es-MX" dirty="0"/>
              <a:t> del target, este puede ser usado directamente para reemplazar a .</a:t>
            </a:r>
            <a:r>
              <a:rPr lang="es-MX" dirty="0" err="1"/>
              <a:t>config</a:t>
            </a:r>
            <a:endParaRPr lang="es-MX" dirty="0"/>
          </a:p>
          <a:p>
            <a:pPr marL="0" indent="0">
              <a:buNone/>
            </a:pPr>
            <a:endParaRPr lang="es-MX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69E99F-3FD8-42C3-ADAB-5DBB1D9EE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991209-63D3-4255-A3D5-96AA2568BB31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022FD-66C7-45D7-81FA-5056E35E5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36982A-A9F3-4709-BEC3-698580BA5E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6155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20A5B9-6692-4E3D-B2DC-9B4FC8A94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argets de configuració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41F417-B6BB-499E-94B4-55653C6B06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376772"/>
            <a:ext cx="11375997" cy="4572000"/>
          </a:xfrm>
        </p:spPr>
        <p:txBody>
          <a:bodyPr/>
          <a:lstStyle/>
          <a:p>
            <a:r>
              <a:rPr lang="en-US" dirty="0"/>
              <a:t>El Código Fuente del kernel de Linux </a:t>
            </a:r>
            <a:r>
              <a:rPr lang="en-US" dirty="0" err="1"/>
              <a:t>incluye</a:t>
            </a:r>
            <a:r>
              <a:rPr lang="en-US" dirty="0"/>
              <a:t> </a:t>
            </a:r>
            <a:r>
              <a:rPr lang="en-US" dirty="0" err="1"/>
              <a:t>algunos</a:t>
            </a:r>
            <a:r>
              <a:rPr lang="en-US" dirty="0"/>
              <a:t> targets de </a:t>
            </a:r>
            <a:r>
              <a:rPr lang="en-US" dirty="0" err="1"/>
              <a:t>configuración</a:t>
            </a:r>
            <a:r>
              <a:rPr lang="en-US" dirty="0"/>
              <a:t> que </a:t>
            </a:r>
            <a:r>
              <a:rPr lang="en-US" dirty="0" err="1"/>
              <a:t>generan</a:t>
            </a:r>
            <a:r>
              <a:rPr lang="en-US" dirty="0"/>
              <a:t> </a:t>
            </a: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archivo</a:t>
            </a:r>
            <a:r>
              <a:rPr lang="en-US" dirty="0"/>
              <a:t> .config. </a:t>
            </a:r>
            <a:r>
              <a:rPr lang="en-US" dirty="0" err="1"/>
              <a:t>Algunos</a:t>
            </a:r>
            <a:r>
              <a:rPr lang="en-US" dirty="0"/>
              <a:t> de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más</a:t>
            </a:r>
            <a:r>
              <a:rPr lang="en-US" dirty="0"/>
              <a:t> communes son:</a:t>
            </a:r>
          </a:p>
          <a:p>
            <a:endParaRPr lang="en-US" dirty="0"/>
          </a:p>
          <a:p>
            <a:r>
              <a:rPr lang="en-US" dirty="0" err="1"/>
              <a:t>defconfig</a:t>
            </a:r>
            <a:r>
              <a:rPr lang="en-US" dirty="0"/>
              <a:t> :</a:t>
            </a:r>
          </a:p>
          <a:p>
            <a:pPr lvl="1"/>
            <a:r>
              <a:rPr lang="en-US" dirty="0" err="1"/>
              <a:t>Contiene</a:t>
            </a:r>
            <a:r>
              <a:rPr lang="en-US" dirty="0"/>
              <a:t> las </a:t>
            </a:r>
            <a:r>
              <a:rPr lang="en-US" dirty="0" err="1"/>
              <a:t>configuraciones</a:t>
            </a:r>
            <a:r>
              <a:rPr lang="en-US" dirty="0"/>
              <a:t> </a:t>
            </a:r>
            <a:r>
              <a:rPr lang="en-US" dirty="0" err="1"/>
              <a:t>específicas</a:t>
            </a:r>
            <a:r>
              <a:rPr lang="en-US" dirty="0"/>
              <a:t> de la </a:t>
            </a:r>
            <a:r>
              <a:rPr lang="en-US" dirty="0" err="1"/>
              <a:t>plataforma</a:t>
            </a:r>
            <a:r>
              <a:rPr lang="en-US" dirty="0"/>
              <a:t> de hardware para la </a:t>
            </a:r>
            <a:r>
              <a:rPr lang="en-US" dirty="0" err="1"/>
              <a:t>cual</a:t>
            </a:r>
            <a:r>
              <a:rPr lang="en-US" dirty="0"/>
              <a:t> se </a:t>
            </a:r>
            <a:r>
              <a:rPr lang="en-US" dirty="0" err="1"/>
              <a:t>compilará</a:t>
            </a:r>
            <a:r>
              <a:rPr lang="en-US" dirty="0"/>
              <a:t> </a:t>
            </a:r>
            <a:r>
              <a:rPr lang="en-US" dirty="0" err="1"/>
              <a:t>el</a:t>
            </a:r>
            <a:r>
              <a:rPr lang="en-US" dirty="0"/>
              <a:t> kernel</a:t>
            </a:r>
          </a:p>
          <a:p>
            <a:pPr lvl="1"/>
            <a:r>
              <a:rPr lang="en-US" dirty="0" err="1"/>
              <a:t>Puede</a:t>
            </a:r>
            <a:r>
              <a:rPr lang="en-US" dirty="0"/>
              <a:t> </a:t>
            </a:r>
            <a:r>
              <a:rPr lang="en-US" dirty="0" err="1"/>
              <a:t>utilizarse</a:t>
            </a:r>
            <a:r>
              <a:rPr lang="en-US" dirty="0"/>
              <a:t> para </a:t>
            </a:r>
            <a:r>
              <a:rPr lang="en-US" dirty="0" err="1"/>
              <a:t>reemplazar</a:t>
            </a:r>
            <a:r>
              <a:rPr lang="en-US" dirty="0"/>
              <a:t> a .config</a:t>
            </a:r>
          </a:p>
          <a:p>
            <a:pPr lvl="1"/>
            <a:r>
              <a:rPr lang="es-MX" dirty="0"/>
              <a:t>Se ejecuta como una receta de un </a:t>
            </a:r>
            <a:r>
              <a:rPr lang="es-MX" dirty="0" err="1"/>
              <a:t>Makefile</a:t>
            </a:r>
            <a:r>
              <a:rPr lang="es-MX" dirty="0"/>
              <a:t> (</a:t>
            </a:r>
            <a:r>
              <a:rPr lang="es-MX" dirty="0">
                <a:latin typeface="Consolas" panose="020B0609020204030204" pitchFamily="49" charset="0"/>
              </a:rPr>
              <a:t>$ </a:t>
            </a:r>
            <a:r>
              <a:rPr lang="es-MX" dirty="0" err="1">
                <a:latin typeface="Consolas" panose="020B0609020204030204" pitchFamily="49" charset="0"/>
              </a:rPr>
              <a:t>make</a:t>
            </a:r>
            <a:r>
              <a:rPr lang="es-MX" dirty="0">
                <a:latin typeface="Consolas" panose="020B0609020204030204" pitchFamily="49" charset="0"/>
              </a:rPr>
              <a:t> </a:t>
            </a:r>
            <a:r>
              <a:rPr lang="es-MX" dirty="0" err="1">
                <a:latin typeface="Consolas" panose="020B0609020204030204" pitchFamily="49" charset="0"/>
              </a:rPr>
              <a:t>defconfig</a:t>
            </a:r>
            <a:r>
              <a:rPr lang="es-MX" dirty="0"/>
              <a:t>)</a:t>
            </a:r>
          </a:p>
          <a:p>
            <a:pPr lvl="1"/>
            <a:endParaRPr lang="es-MX" dirty="0"/>
          </a:p>
          <a:p>
            <a:r>
              <a:rPr lang="es-MX" dirty="0" err="1"/>
              <a:t>menuconfig</a:t>
            </a:r>
            <a:r>
              <a:rPr lang="es-MX" dirty="0"/>
              <a:t>:</a:t>
            </a:r>
          </a:p>
          <a:p>
            <a:pPr lvl="1"/>
            <a:r>
              <a:rPr lang="es-MX" dirty="0"/>
              <a:t>Herramienta gráfica de configuración que interactúa con </a:t>
            </a:r>
            <a:r>
              <a:rPr lang="es-MX" dirty="0" err="1"/>
              <a:t>Kconfigs</a:t>
            </a:r>
            <a:endParaRPr lang="es-MX" dirty="0"/>
          </a:p>
          <a:p>
            <a:pPr lvl="1"/>
            <a:r>
              <a:rPr lang="es-MX" dirty="0"/>
              <a:t>Utilizada para generar/editar el archivo .</a:t>
            </a:r>
            <a:r>
              <a:rPr lang="es-MX" dirty="0" err="1"/>
              <a:t>config</a:t>
            </a:r>
            <a:endParaRPr lang="es-MX" dirty="0"/>
          </a:p>
          <a:p>
            <a:pPr lvl="1"/>
            <a:r>
              <a:rPr lang="es-MX" dirty="0"/>
              <a:t>Común en software para sistemas embebidos, entre ellos el </a:t>
            </a:r>
            <a:r>
              <a:rPr lang="es-MX" dirty="0" err="1"/>
              <a:t>kernel</a:t>
            </a:r>
            <a:r>
              <a:rPr lang="es-MX" dirty="0"/>
              <a:t> de Linux</a:t>
            </a:r>
          </a:p>
          <a:p>
            <a:pPr lvl="1"/>
            <a:r>
              <a:rPr lang="es-MX" dirty="0"/>
              <a:t>Se ejecuta como una receta de un </a:t>
            </a:r>
            <a:r>
              <a:rPr lang="es-MX" dirty="0" err="1"/>
              <a:t>Makefile</a:t>
            </a:r>
            <a:r>
              <a:rPr lang="es-MX" dirty="0"/>
              <a:t> (</a:t>
            </a:r>
            <a:r>
              <a:rPr lang="es-MX" dirty="0">
                <a:latin typeface="Consolas" panose="020B0609020204030204" pitchFamily="49" charset="0"/>
              </a:rPr>
              <a:t>$ </a:t>
            </a:r>
            <a:r>
              <a:rPr lang="es-MX" dirty="0" err="1">
                <a:latin typeface="Consolas" panose="020B0609020204030204" pitchFamily="49" charset="0"/>
              </a:rPr>
              <a:t>make</a:t>
            </a:r>
            <a:r>
              <a:rPr lang="es-MX" dirty="0">
                <a:latin typeface="Consolas" panose="020B0609020204030204" pitchFamily="49" charset="0"/>
              </a:rPr>
              <a:t> </a:t>
            </a:r>
            <a:r>
              <a:rPr lang="es-MX" dirty="0" err="1">
                <a:latin typeface="Consolas" panose="020B0609020204030204" pitchFamily="49" charset="0"/>
              </a:rPr>
              <a:t>menuconfig</a:t>
            </a:r>
            <a:r>
              <a:rPr lang="es-MX" dirty="0"/>
              <a:t>)</a:t>
            </a:r>
          </a:p>
          <a:p>
            <a:pPr lvl="1"/>
            <a:endParaRPr lang="es-MX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0AE5F3-BC22-4391-9F02-3562EE007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70CA80-E6B2-45EB-96AE-F5F0D16D731E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DD73CA-7C24-4C27-9736-ABB340CA9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BD2B24-1141-499B-9FCC-5BA2CD333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7741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00416A-8D10-E67E-1CC5-A973AD852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Más targets de configuración</a:t>
            </a:r>
            <a:endParaRPr lang="en-US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ACCA005E-12BD-5EF8-5AF1-71502343B42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0412724"/>
              </p:ext>
            </p:extLst>
          </p:nvPr>
        </p:nvGraphicFramePr>
        <p:xfrm>
          <a:off x="551384" y="1307465"/>
          <a:ext cx="10569583" cy="432308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054100">
                  <a:extLst>
                    <a:ext uri="{9D8B030D-6E8A-4147-A177-3AD203B41FA5}">
                      <a16:colId xmlns:a16="http://schemas.microsoft.com/office/drawing/2014/main" val="3931999617"/>
                    </a:ext>
                  </a:extLst>
                </a:gridCol>
                <a:gridCol w="9515483">
                  <a:extLst>
                    <a:ext uri="{9D8B030D-6E8A-4147-A177-3AD203B41FA5}">
                      <a16:colId xmlns:a16="http://schemas.microsoft.com/office/drawing/2014/main" val="3425897695"/>
                    </a:ext>
                  </a:extLst>
                </a:gridCol>
              </a:tblGrid>
              <a:tr h="127000">
                <a:tc>
                  <a:txBody>
                    <a:bodyPr/>
                    <a:lstStyle/>
                    <a:p>
                      <a:r>
                        <a:rPr lang="en-US" sz="1200" b="1" dirty="0">
                          <a:effectLst/>
                        </a:rPr>
                        <a:t>Target</a:t>
                      </a:r>
                      <a:endParaRPr lang="en-US" sz="1200" b="1" dirty="0"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effectLst/>
                        </a:rPr>
                        <a:t>Description</a:t>
                      </a:r>
                      <a:endParaRPr lang="en-US" sz="1200" b="1" dirty="0"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extLst>
                  <a:ext uri="{0D108BD9-81ED-4DB2-BD59-A6C34878D82A}">
                    <a16:rowId xmlns:a16="http://schemas.microsoft.com/office/drawing/2014/main" val="2165065060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config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Updates the current kernel configuration by using a line-oriented program.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extLst>
                  <a:ext uri="{0D108BD9-81ED-4DB2-BD59-A6C34878D82A}">
                    <a16:rowId xmlns:a16="http://schemas.microsoft.com/office/drawing/2014/main" val="2129551495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</a:rPr>
                        <a:t>menuconfig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Updates the current kernel configuration by using a text based menu program.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extLst>
                  <a:ext uri="{0D108BD9-81ED-4DB2-BD59-A6C34878D82A}">
                    <a16:rowId xmlns:a16="http://schemas.microsoft.com/office/drawing/2014/main" val="4161221593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</a:rPr>
                        <a:t>xconfig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</a:rPr>
                        <a:t>Updates the current kernel configuration by using a QT-based graphical program.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extLst>
                  <a:ext uri="{0D108BD9-81ED-4DB2-BD59-A6C34878D82A}">
                    <a16:rowId xmlns:a16="http://schemas.microsoft.com/office/drawing/2014/main" val="4093107543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</a:rPr>
                        <a:t>oldconfig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Updates the current kernel configuration by using the current .config file and prompting for any new options that have been added to the kernel.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extLst>
                  <a:ext uri="{0D108BD9-81ED-4DB2-BD59-A6C34878D82A}">
                    <a16:rowId xmlns:a16="http://schemas.microsoft.com/office/drawing/2014/main" val="1858211381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</a:rPr>
                        <a:t>silentoldconfig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Just like 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</a:rPr>
                        <a:t>oldconfig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, but prints nothing to the screen except when a question needs to be answered.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extLst>
                  <a:ext uri="{0D108BD9-81ED-4DB2-BD59-A6C34878D82A}">
                    <a16:rowId xmlns:a16="http://schemas.microsoft.com/office/drawing/2014/main" val="3225095542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</a:rPr>
                        <a:t>randconfig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</a:rPr>
                        <a:t>Generates a new kernel configuration with random answers to all of the different options.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extLst>
                  <a:ext uri="{0D108BD9-81ED-4DB2-BD59-A6C34878D82A}">
                    <a16:rowId xmlns:a16="http://schemas.microsoft.com/office/drawing/2014/main" val="257300136"/>
                  </a:ext>
                </a:extLst>
              </a:tr>
              <a:tr h="939800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</a:rPr>
                        <a:t>defconfig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Generates a new kernel configuration with the default answer being used for all options. The default values are taken from a file located in the arch/$ARCH/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</a:rPr>
                        <a:t>defconfig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 file, where $ARCH refers to the specific architecture for which the kernel is being built.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extLst>
                  <a:ext uri="{0D108BD9-81ED-4DB2-BD59-A6C34878D82A}">
                    <a16:rowId xmlns:a16="http://schemas.microsoft.com/office/drawing/2014/main" val="3692882095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</a:rPr>
                        <a:t>allmodconfig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</a:rPr>
                        <a:t>Generates a new kernel configuration in which modules are enabled whenever possible.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extLst>
                  <a:ext uri="{0D108BD9-81ED-4DB2-BD59-A6C34878D82A}">
                    <a16:rowId xmlns:a16="http://schemas.microsoft.com/office/drawing/2014/main" val="657904290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</a:rPr>
                        <a:t>allyesconfig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</a:rPr>
                        <a:t>Generates a new kernel configuration with all options set to yes.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extLst>
                  <a:ext uri="{0D108BD9-81ED-4DB2-BD59-A6C34878D82A}">
                    <a16:rowId xmlns:a16="http://schemas.microsoft.com/office/drawing/2014/main" val="2340864810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</a:rPr>
                        <a:t>allnoconfig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Generates a new kernel configuration with all options set to no.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5400" marR="25400" marT="12700" marB="12700" anchor="ctr"/>
                </a:tc>
                <a:extLst>
                  <a:ext uri="{0D108BD9-81ED-4DB2-BD59-A6C34878D82A}">
                    <a16:rowId xmlns:a16="http://schemas.microsoft.com/office/drawing/2014/main" val="723311148"/>
                  </a:ext>
                </a:extLst>
              </a:tr>
            </a:tbl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A622C2-107B-42E3-E216-A0FB14BCC3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F17084-9209-4F02-A910-23F48656C65B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726081-BF8F-0CCA-8693-70224E1842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D01877-B448-791D-AA58-2307BCD71B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9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1CA2510-828F-F91D-0020-C405DEFC89A5}"/>
              </a:ext>
            </a:extLst>
          </p:cNvPr>
          <p:cNvSpPr txBox="1"/>
          <p:nvPr/>
        </p:nvSpPr>
        <p:spPr>
          <a:xfrm>
            <a:off x="478390" y="5733256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Lista </a:t>
            </a:r>
            <a:r>
              <a:rPr lang="en-US" sz="1400" dirty="0" err="1"/>
              <a:t>completa</a:t>
            </a:r>
            <a:r>
              <a:rPr lang="en-US" sz="1400" dirty="0"/>
              <a:t>: </a:t>
            </a:r>
            <a:r>
              <a:rPr lang="en-US" sz="1400" i="1" dirty="0"/>
              <a:t>$ make help</a:t>
            </a:r>
          </a:p>
        </p:txBody>
      </p:sp>
    </p:spTree>
    <p:extLst>
      <p:ext uri="{BB962C8B-B14F-4D97-AF65-F5344CB8AC3E}">
        <p14:creationId xmlns:p14="http://schemas.microsoft.com/office/powerpoint/2010/main" val="3777508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650E88-FC0B-4364-8166-4A35C9A3C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Fuentes y herramient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9D1A9A-5103-42F1-9969-546FE28C8C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005" y="1520791"/>
            <a:ext cx="11375997" cy="4572000"/>
          </a:xfrm>
        </p:spPr>
        <p:txBody>
          <a:bodyPr>
            <a:normAutofit lnSpcReduction="10000"/>
          </a:bodyPr>
          <a:lstStyle/>
          <a:p>
            <a:r>
              <a:rPr lang="es-MX" dirty="0"/>
              <a:t>Enlaces al código fuente de Linux:</a:t>
            </a:r>
          </a:p>
          <a:p>
            <a:pPr lvl="1"/>
            <a:r>
              <a:rPr lang="es-MX" dirty="0" err="1"/>
              <a:t>Releases</a:t>
            </a:r>
            <a:r>
              <a:rPr lang="es-MX" dirty="0"/>
              <a:t>: </a:t>
            </a:r>
            <a:r>
              <a:rPr lang="es-MX" dirty="0">
                <a:hlinkClick r:id="rId2"/>
              </a:rPr>
              <a:t>https://kernel.org/</a:t>
            </a:r>
            <a:r>
              <a:rPr lang="es-MX" dirty="0"/>
              <a:t> </a:t>
            </a:r>
          </a:p>
          <a:p>
            <a:pPr lvl="1"/>
            <a:r>
              <a:rPr lang="es-MX" dirty="0"/>
              <a:t>Git (web </a:t>
            </a:r>
            <a:r>
              <a:rPr lang="es-MX" dirty="0" err="1"/>
              <a:t>view</a:t>
            </a:r>
            <a:r>
              <a:rPr lang="es-MX" dirty="0"/>
              <a:t>): </a:t>
            </a:r>
            <a:r>
              <a:rPr lang="es-MX" dirty="0">
                <a:hlinkClick r:id="rId3"/>
              </a:rPr>
              <a:t>https://git.kernel.org/</a:t>
            </a:r>
            <a:r>
              <a:rPr lang="es-MX" dirty="0"/>
              <a:t> </a:t>
            </a:r>
          </a:p>
          <a:p>
            <a:pPr lvl="1"/>
            <a:r>
              <a:rPr lang="es-MX" dirty="0"/>
              <a:t>GitHub (</a:t>
            </a:r>
            <a:r>
              <a:rPr lang="es-MX" dirty="0" err="1"/>
              <a:t>mirror</a:t>
            </a:r>
            <a:r>
              <a:rPr lang="es-MX" dirty="0"/>
              <a:t>): </a:t>
            </a:r>
            <a:r>
              <a:rPr lang="en-US" dirty="0">
                <a:hlinkClick r:id="rId4"/>
              </a:rPr>
              <a:t>https://github.com/torvalds/linux</a:t>
            </a:r>
            <a:r>
              <a:rPr lang="es-MX" dirty="0"/>
              <a:t> </a:t>
            </a:r>
          </a:p>
          <a:p>
            <a:pPr lvl="1"/>
            <a:r>
              <a:rPr lang="es-MX" dirty="0"/>
              <a:t>GitHub (</a:t>
            </a:r>
            <a:r>
              <a:rPr lang="es-MX" dirty="0" err="1"/>
              <a:t>beagleboard</a:t>
            </a:r>
            <a:r>
              <a:rPr lang="es-MX" dirty="0"/>
              <a:t> </a:t>
            </a:r>
            <a:r>
              <a:rPr lang="es-MX" dirty="0" err="1"/>
              <a:t>distribution</a:t>
            </a:r>
            <a:r>
              <a:rPr lang="es-MX" dirty="0"/>
              <a:t>):  </a:t>
            </a:r>
            <a:r>
              <a:rPr lang="en-US" dirty="0">
                <a:hlinkClick r:id="rId5"/>
              </a:rPr>
              <a:t>https://github.com/beagleboard/linux</a:t>
            </a:r>
            <a:r>
              <a:rPr lang="es-MX" dirty="0"/>
              <a:t> </a:t>
            </a:r>
          </a:p>
          <a:p>
            <a:pPr marL="179025" lvl="1" indent="0">
              <a:buNone/>
            </a:pPr>
            <a:endParaRPr lang="es-MX" dirty="0"/>
          </a:p>
          <a:p>
            <a:r>
              <a:rPr lang="es-MX" dirty="0"/>
              <a:t>Documentación: </a:t>
            </a:r>
            <a:r>
              <a:rPr lang="es-MX" dirty="0">
                <a:hlinkClick r:id="rId6"/>
              </a:rPr>
              <a:t>https://docs.kernel.org/</a:t>
            </a:r>
            <a:r>
              <a:rPr lang="es-MX" dirty="0"/>
              <a:t> </a:t>
            </a:r>
          </a:p>
          <a:p>
            <a:pPr marL="179025" lvl="1" indent="0">
              <a:buNone/>
            </a:pPr>
            <a:endParaRPr lang="es-MX" dirty="0"/>
          </a:p>
          <a:p>
            <a:r>
              <a:rPr lang="es-MX" dirty="0"/>
              <a:t>Lista de correo (web archive): </a:t>
            </a:r>
            <a:r>
              <a:rPr lang="es-MX" dirty="0">
                <a:hlinkClick r:id="rId7"/>
              </a:rPr>
              <a:t>https://lkml.org/</a:t>
            </a:r>
            <a:r>
              <a:rPr lang="es-MX" dirty="0"/>
              <a:t> </a:t>
            </a:r>
          </a:p>
          <a:p>
            <a:endParaRPr lang="es-MX" dirty="0"/>
          </a:p>
          <a:p>
            <a:r>
              <a:rPr lang="es-MX" dirty="0"/>
              <a:t>Sitios útiles:</a:t>
            </a:r>
          </a:p>
          <a:p>
            <a:pPr lvl="1"/>
            <a:r>
              <a:rPr lang="en-US" dirty="0"/>
              <a:t>Cross reference: </a:t>
            </a:r>
            <a:r>
              <a:rPr lang="es-MX" dirty="0"/>
              <a:t> </a:t>
            </a:r>
            <a:r>
              <a:rPr lang="en-US" dirty="0">
                <a:hlinkClick r:id="rId8"/>
              </a:rPr>
              <a:t>https://elixir.bootlin.com/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Embedded Linux wiki: </a:t>
            </a:r>
            <a:r>
              <a:rPr lang="en-US" dirty="0">
                <a:hlinkClick r:id="rId9"/>
              </a:rPr>
              <a:t>https://elinux.org/</a:t>
            </a:r>
            <a:r>
              <a:rPr lang="en-US" dirty="0"/>
              <a:t> 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BA069E-6F11-43E4-943C-6D1AEE7D5C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E7D295-6D01-46AB-8EC9-C6A2993C72F3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D9DC80-FB27-4C13-A483-C6056686E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955AEC-3CBA-4575-93CD-50FA0E42B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1097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41F417-B6BB-499E-94B4-55653C6B067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20A5B9-6692-4E3D-B2DC-9B4FC8A94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Ejemplo: </a:t>
            </a:r>
            <a:r>
              <a:rPr lang="es-MX" dirty="0" err="1"/>
              <a:t>menuconfig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0AE5F3-BC22-4391-9F02-3562EE0075B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470CA80-E6B2-45EB-96AE-F5F0D16D731E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DD73CA-7C24-4C27-9736-ABB340CA94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BD2B24-1141-499B-9FCC-5BA2CD333C4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0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9B025A-CD3D-4E7A-BC57-0ECDEE98D0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1155400"/>
            <a:ext cx="7884256" cy="4539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979014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C37C1D5-B877-4ABF-8438-8E0A2F26A0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https://www.linuxjournal.com/content/kbuild-linux-kernel-build-system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https://events19.linuxfoundation.org/wp-content/uploads/2017/11/A-Dive-into-Kbuild-Cao-Jin-Fujitsu.pdf</a:t>
            </a:r>
            <a:r>
              <a:rPr lang="en-US" dirty="0"/>
              <a:t> 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B5C102-49FC-454B-AAE1-F13AE15710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Lecturas recomendada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F1C990-73AA-4940-A5A0-C6E5B08D179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30BD2F-1847-40FB-9D07-D2F2A07011D2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AB0428-ABDA-47D5-ADEF-7D59EB8C59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812645-B8F7-4E3B-A900-C5D66B91A9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996352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165D1EF-3F34-48E4-A128-0E1A6092F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Generación del </a:t>
            </a:r>
            <a:r>
              <a:rPr lang="es-MX" dirty="0" err="1"/>
              <a:t>kernel</a:t>
            </a:r>
            <a:r>
              <a:rPr lang="es-MX" dirty="0"/>
              <a:t> de Linux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CE9CD9-424C-4E24-A793-52993CE06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5DA1E-6869-4A03-AEE2-7761825AD0A1}" type="datetime1">
              <a:rPr lang="en-US" smtClean="0"/>
              <a:pPr/>
              <a:t>6/13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424E02-9B06-4539-AE03-772F1E20DE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B58A34-314A-4F9D-BBFA-8BA0D18EC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832210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20A5B9-6692-4E3D-B2DC-9B4FC8A94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Generación de binarios del </a:t>
            </a:r>
            <a:r>
              <a:rPr lang="es-MX" dirty="0" err="1"/>
              <a:t>kernel</a:t>
            </a:r>
            <a:r>
              <a:rPr lang="es-MX" dirty="0"/>
              <a:t> de Linux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41F417-B6BB-499E-94B4-55653C6B06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203" y="1413431"/>
            <a:ext cx="11375997" cy="4572000"/>
          </a:xfrm>
        </p:spPr>
        <p:txBody>
          <a:bodyPr/>
          <a:lstStyle/>
          <a:p>
            <a:r>
              <a:rPr lang="es-MX" dirty="0"/>
              <a:t>La compilación/enlazado del </a:t>
            </a:r>
            <a:r>
              <a:rPr lang="es-MX" dirty="0" err="1"/>
              <a:t>kernel</a:t>
            </a:r>
            <a:r>
              <a:rPr lang="es-MX" dirty="0"/>
              <a:t> de Linux, </a:t>
            </a:r>
            <a:r>
              <a:rPr lang="es-MX" dirty="0" err="1"/>
              <a:t>device</a:t>
            </a:r>
            <a:r>
              <a:rPr lang="es-MX" dirty="0"/>
              <a:t> </a:t>
            </a:r>
            <a:r>
              <a:rPr lang="es-MX" dirty="0" err="1"/>
              <a:t>tree</a:t>
            </a:r>
            <a:r>
              <a:rPr lang="es-MX" dirty="0"/>
              <a:t> y módulos se realiza a través de </a:t>
            </a:r>
            <a:r>
              <a:rPr lang="es-MX" b="1" dirty="0" err="1"/>
              <a:t>make</a:t>
            </a:r>
            <a:r>
              <a:rPr lang="es-MX" dirty="0"/>
              <a:t> una vez que se generó el archivo .</a:t>
            </a:r>
            <a:r>
              <a:rPr lang="es-MX" dirty="0" err="1"/>
              <a:t>config</a:t>
            </a:r>
            <a:r>
              <a:rPr lang="es-MX" dirty="0"/>
              <a:t>, que a su vez fue generado a partir de las configuraciones definidas en los archivos </a:t>
            </a:r>
            <a:r>
              <a:rPr lang="es-MX" dirty="0" err="1"/>
              <a:t>Kconfig</a:t>
            </a:r>
            <a:r>
              <a:rPr lang="es-MX" dirty="0"/>
              <a:t>.</a:t>
            </a:r>
          </a:p>
          <a:p>
            <a:pPr marL="0" indent="0">
              <a:buNone/>
            </a:pPr>
            <a:endParaRPr lang="es-MX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0AE5F3-BC22-4391-9F02-3562EE007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70CA80-E6B2-45EB-96AE-F5F0D16D731E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DD73CA-7C24-4C27-9736-ABB340CA9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BD2B24-1141-499B-9FCC-5BA2CD333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3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AE09526-6AC9-4471-B357-C8E403A131F8}"/>
              </a:ext>
            </a:extLst>
          </p:cNvPr>
          <p:cNvSpPr/>
          <p:nvPr/>
        </p:nvSpPr>
        <p:spPr>
          <a:xfrm>
            <a:off x="1544208" y="3431236"/>
            <a:ext cx="873811" cy="54006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b="0" i="0" u="none" baseline="0" dirty="0" err="1">
                <a:solidFill>
                  <a:srgbClr val="181818"/>
                </a:solidFill>
                <a:latin typeface="Arial" panose="020B0604020202020204" pitchFamily="34" charset="0"/>
              </a:rPr>
              <a:t>Kconfig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FFE814-BF7E-449D-AF79-DDDA83B29EAF}"/>
              </a:ext>
            </a:extLst>
          </p:cNvPr>
          <p:cNvSpPr/>
          <p:nvPr/>
        </p:nvSpPr>
        <p:spPr>
          <a:xfrm>
            <a:off x="3386987" y="3687867"/>
            <a:ext cx="1441491" cy="629047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b="0" i="0" u="none" baseline="0" dirty="0" err="1">
                <a:solidFill>
                  <a:srgbClr val="181818"/>
                </a:solidFill>
                <a:latin typeface="Arial" panose="020B0604020202020204" pitchFamily="34" charset="0"/>
              </a:rPr>
              <a:t>menuconfig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05981EE-1179-419B-8B95-25060B9E436E}"/>
              </a:ext>
            </a:extLst>
          </p:cNvPr>
          <p:cNvSpPr/>
          <p:nvPr/>
        </p:nvSpPr>
        <p:spPr>
          <a:xfrm>
            <a:off x="5618233" y="3701581"/>
            <a:ext cx="873811" cy="54006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.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config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471E42-4048-40EF-817B-80EF43E5CD51}"/>
              </a:ext>
            </a:extLst>
          </p:cNvPr>
          <p:cNvSpPr/>
          <p:nvPr/>
        </p:nvSpPr>
        <p:spPr>
          <a:xfrm>
            <a:off x="1544207" y="4106928"/>
            <a:ext cx="873811" cy="54006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b="0" i="0" u="none" baseline="0" dirty="0" err="1">
                <a:solidFill>
                  <a:srgbClr val="181818"/>
                </a:solidFill>
                <a:latin typeface="Arial" panose="020B0604020202020204" pitchFamily="34" charset="0"/>
              </a:rPr>
              <a:t>Kconfig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5315AB-EAE1-4361-8744-3996780BBF06}"/>
              </a:ext>
            </a:extLst>
          </p:cNvPr>
          <p:cNvSpPr/>
          <p:nvPr/>
        </p:nvSpPr>
        <p:spPr>
          <a:xfrm>
            <a:off x="7238940" y="3444708"/>
            <a:ext cx="1257723" cy="105317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b="1" dirty="0" err="1">
                <a:solidFill>
                  <a:srgbClr val="181818"/>
                </a:solidFill>
                <a:latin typeface="Arial" panose="020B0604020202020204" pitchFamily="34" charset="0"/>
              </a:rPr>
              <a:t>m</a:t>
            </a:r>
            <a:r>
              <a:rPr lang="es-MX" sz="1600" b="1" i="0" u="none" baseline="0" dirty="0" err="1">
                <a:solidFill>
                  <a:srgbClr val="181818"/>
                </a:solidFill>
                <a:latin typeface="Arial" panose="020B0604020202020204" pitchFamily="34" charset="0"/>
              </a:rPr>
              <a:t>ake</a:t>
            </a:r>
            <a:endParaRPr lang="es-MX" sz="1600" b="1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400" dirty="0" err="1">
                <a:solidFill>
                  <a:srgbClr val="181818"/>
                </a:solidFill>
                <a:latin typeface="Arial" panose="020B0604020202020204" pitchFamily="34" charset="0"/>
              </a:rPr>
              <a:t>cc</a:t>
            </a:r>
            <a:r>
              <a:rPr lang="es-MX" sz="1400" dirty="0">
                <a:solidFill>
                  <a:srgbClr val="181818"/>
                </a:solidFill>
                <a:latin typeface="Arial" panose="020B0604020202020204" pitchFamily="34" charset="0"/>
              </a:rPr>
              <a:t>, </a:t>
            </a:r>
            <a:r>
              <a:rPr lang="es-MX" sz="1400" dirty="0" err="1">
                <a:solidFill>
                  <a:srgbClr val="181818"/>
                </a:solidFill>
                <a:latin typeface="Arial" panose="020B0604020202020204" pitchFamily="34" charset="0"/>
              </a:rPr>
              <a:t>ld</a:t>
            </a:r>
            <a:r>
              <a:rPr lang="es-MX" sz="1400" dirty="0">
                <a:solidFill>
                  <a:srgbClr val="181818"/>
                </a:solidFill>
                <a:latin typeface="Arial" panose="020B0604020202020204" pitchFamily="34" charset="0"/>
              </a:rPr>
              <a:t>, ar</a:t>
            </a:r>
            <a:endParaRPr lang="en-US" sz="140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481AD2B-288E-4DA6-A8F9-76D2E2C09E89}"/>
              </a:ext>
            </a:extLst>
          </p:cNvPr>
          <p:cNvSpPr/>
          <p:nvPr/>
        </p:nvSpPr>
        <p:spPr>
          <a:xfrm>
            <a:off x="9261493" y="2684512"/>
            <a:ext cx="873811" cy="54006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b="0" i="0" u="none" baseline="0" dirty="0" err="1">
                <a:solidFill>
                  <a:srgbClr val="181818"/>
                </a:solidFill>
                <a:latin typeface="Arial" panose="020B0604020202020204" pitchFamily="34" charset="0"/>
              </a:rPr>
              <a:t>vmlinux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4D8CAC-57B7-444D-8295-E18914D8291F}"/>
              </a:ext>
            </a:extLst>
          </p:cNvPr>
          <p:cNvSpPr/>
          <p:nvPr/>
        </p:nvSpPr>
        <p:spPr>
          <a:xfrm>
            <a:off x="9261494" y="3348337"/>
            <a:ext cx="873811" cy="54006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b="0" i="0" u="none" baseline="0" dirty="0" err="1">
                <a:solidFill>
                  <a:srgbClr val="181818"/>
                </a:solidFill>
                <a:latin typeface="Arial" panose="020B0604020202020204" pitchFamily="34" charset="0"/>
              </a:rPr>
              <a:t>zImage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67108F-C011-4526-ABFB-D05FFFE41E0D}"/>
              </a:ext>
            </a:extLst>
          </p:cNvPr>
          <p:cNvSpPr/>
          <p:nvPr/>
        </p:nvSpPr>
        <p:spPr>
          <a:xfrm>
            <a:off x="9245769" y="3996890"/>
            <a:ext cx="873811" cy="54006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b="0" i="0" u="none" baseline="0" dirty="0" err="1">
                <a:solidFill>
                  <a:srgbClr val="181818"/>
                </a:solidFill>
                <a:latin typeface="Arial" panose="020B0604020202020204" pitchFamily="34" charset="0"/>
              </a:rPr>
              <a:t>dtb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C1A012-B46D-4D81-93DA-48F5A63DC673}"/>
              </a:ext>
            </a:extLst>
          </p:cNvPr>
          <p:cNvSpPr txBox="1"/>
          <p:nvPr/>
        </p:nvSpPr>
        <p:spPr>
          <a:xfrm>
            <a:off x="9436452" y="5091571"/>
            <a:ext cx="492443" cy="46166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…</a:t>
            </a:r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A144D8-1D89-46D8-8085-7547CAB22138}"/>
              </a:ext>
            </a:extLst>
          </p:cNvPr>
          <p:cNvSpPr txBox="1"/>
          <p:nvPr/>
        </p:nvSpPr>
        <p:spPr>
          <a:xfrm>
            <a:off x="1817979" y="4570238"/>
            <a:ext cx="492443" cy="46166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…</a:t>
            </a:r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4DB920F5-85D5-4AB8-8C1F-1B725E2B33BE}"/>
              </a:ext>
            </a:extLst>
          </p:cNvPr>
          <p:cNvSpPr/>
          <p:nvPr/>
        </p:nvSpPr>
        <p:spPr>
          <a:xfrm>
            <a:off x="2612484" y="3798298"/>
            <a:ext cx="621495" cy="408187"/>
          </a:xfrm>
          <a:prstGeom prst="right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75C20C35-61AF-406F-B8A6-71373043989C}"/>
              </a:ext>
            </a:extLst>
          </p:cNvPr>
          <p:cNvSpPr/>
          <p:nvPr/>
        </p:nvSpPr>
        <p:spPr>
          <a:xfrm>
            <a:off x="4961267" y="3767202"/>
            <a:ext cx="547064" cy="408187"/>
          </a:xfrm>
          <a:prstGeom prst="right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79688E6E-77AE-47A2-B50D-56A9F77A7B4A}"/>
              </a:ext>
            </a:extLst>
          </p:cNvPr>
          <p:cNvSpPr/>
          <p:nvPr/>
        </p:nvSpPr>
        <p:spPr>
          <a:xfrm>
            <a:off x="6617451" y="3750745"/>
            <a:ext cx="547064" cy="408187"/>
          </a:xfrm>
          <a:prstGeom prst="right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D4CB61E3-092E-49B7-B20E-C24B83523E3A}"/>
              </a:ext>
            </a:extLst>
          </p:cNvPr>
          <p:cNvSpPr/>
          <p:nvPr/>
        </p:nvSpPr>
        <p:spPr>
          <a:xfrm>
            <a:off x="8609666" y="3742334"/>
            <a:ext cx="547064" cy="408187"/>
          </a:xfrm>
          <a:prstGeom prst="right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0B98C-AB4E-4124-9EF3-F7F363E0767E}"/>
              </a:ext>
            </a:extLst>
          </p:cNvPr>
          <p:cNvSpPr/>
          <p:nvPr/>
        </p:nvSpPr>
        <p:spPr>
          <a:xfrm>
            <a:off x="5572974" y="4984437"/>
            <a:ext cx="1008112" cy="54006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defconfig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7ED199BC-1643-432A-A813-10DF178D850B}"/>
              </a:ext>
            </a:extLst>
          </p:cNvPr>
          <p:cNvSpPr/>
          <p:nvPr/>
        </p:nvSpPr>
        <p:spPr>
          <a:xfrm rot="16200000">
            <a:off x="5783092" y="4409018"/>
            <a:ext cx="547064" cy="408187"/>
          </a:xfrm>
          <a:prstGeom prst="right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568E33C-9B89-C338-CDDD-5188E09E0D83}"/>
              </a:ext>
            </a:extLst>
          </p:cNvPr>
          <p:cNvSpPr/>
          <p:nvPr/>
        </p:nvSpPr>
        <p:spPr>
          <a:xfrm>
            <a:off x="9261494" y="4703889"/>
            <a:ext cx="873811" cy="54006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b="0" i="0" u="none" baseline="0" dirty="0">
                <a:solidFill>
                  <a:srgbClr val="181818"/>
                </a:solidFill>
                <a:latin typeface="Arial" panose="020B0604020202020204" pitchFamily="34" charset="0"/>
              </a:rPr>
              <a:t>*.</a:t>
            </a:r>
            <a:r>
              <a:rPr lang="es-MX" sz="1600" b="0" i="0" u="none" baseline="0" dirty="0" err="1">
                <a:solidFill>
                  <a:srgbClr val="181818"/>
                </a:solidFill>
                <a:latin typeface="Arial" panose="020B0604020202020204" pitchFamily="34" charset="0"/>
              </a:rPr>
              <a:t>ko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696F126-B57F-2017-1E07-A6FCD6EE595A}"/>
              </a:ext>
            </a:extLst>
          </p:cNvPr>
          <p:cNvSpPr/>
          <p:nvPr/>
        </p:nvSpPr>
        <p:spPr>
          <a:xfrm>
            <a:off x="5443056" y="2410981"/>
            <a:ext cx="1305859" cy="54006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autoconf.h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170E06A4-1F47-540B-3DB0-6C6089CEBD73}"/>
              </a:ext>
            </a:extLst>
          </p:cNvPr>
          <p:cNvSpPr/>
          <p:nvPr/>
        </p:nvSpPr>
        <p:spPr>
          <a:xfrm rot="16200000">
            <a:off x="5793930" y="3111611"/>
            <a:ext cx="547064" cy="408187"/>
          </a:xfrm>
          <a:prstGeom prst="right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8861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D621D8-BDA3-4C4A-9D18-1179FD765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Variables de compilación comun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284558-213C-414D-9794-227DCFED79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MX" dirty="0"/>
              <a:t>ARCH =&gt; arquitectura (debe corresponder a un subdirectorio de </a:t>
            </a:r>
            <a:r>
              <a:rPr lang="es-MX" i="1" dirty="0" err="1"/>
              <a:t>arch</a:t>
            </a:r>
            <a:endParaRPr lang="es-MX" i="1" dirty="0"/>
          </a:p>
          <a:p>
            <a:r>
              <a:rPr lang="es-MX" dirty="0"/>
              <a:t>CROSS_COMPILE =&gt; Prefijo del </a:t>
            </a:r>
            <a:r>
              <a:rPr lang="es-MX" dirty="0" err="1"/>
              <a:t>toolchain</a:t>
            </a:r>
            <a:r>
              <a:rPr lang="es-MX" dirty="0"/>
              <a:t> a utilizar</a:t>
            </a:r>
          </a:p>
          <a:p>
            <a:r>
              <a:rPr lang="es-MX" dirty="0"/>
              <a:t>INSTALL_MOD_PATH =&gt; Lugar de instalación de los módulos (.</a:t>
            </a:r>
            <a:r>
              <a:rPr lang="es-MX" dirty="0" err="1"/>
              <a:t>ko</a:t>
            </a:r>
            <a:r>
              <a:rPr lang="es-MX" dirty="0"/>
              <a:t>)</a:t>
            </a:r>
          </a:p>
          <a:p>
            <a:r>
              <a:rPr lang="es-MX" dirty="0"/>
              <a:t>V =&gt; Verbose (V=1)</a:t>
            </a:r>
          </a:p>
          <a:p>
            <a:pPr marL="0" indent="0">
              <a:buNone/>
            </a:pPr>
            <a:endParaRPr lang="es-MX" dirty="0">
              <a:latin typeface="Consolas" panose="020B0609020204030204" pitchFamily="49" charset="0"/>
            </a:endParaRPr>
          </a:p>
          <a:p>
            <a:r>
              <a:rPr lang="es-MX" dirty="0"/>
              <a:t>Ejemplo (ARM </a:t>
            </a:r>
            <a:r>
              <a:rPr lang="es-MX" dirty="0" err="1"/>
              <a:t>toolchain</a:t>
            </a:r>
            <a:r>
              <a:rPr lang="es-MX" dirty="0"/>
              <a:t> Ubuntu/Debian y configuración </a:t>
            </a:r>
            <a:r>
              <a:rPr lang="es-MX" dirty="0" err="1"/>
              <a:t>via</a:t>
            </a:r>
            <a:r>
              <a:rPr lang="es-MX" dirty="0"/>
              <a:t> </a:t>
            </a:r>
            <a:r>
              <a:rPr lang="es-MX" dirty="0" err="1"/>
              <a:t>menuconfig</a:t>
            </a:r>
            <a:r>
              <a:rPr lang="es-MX" dirty="0"/>
              <a:t>):</a:t>
            </a:r>
          </a:p>
          <a:p>
            <a:pPr lvl="1"/>
            <a:r>
              <a:rPr lang="es-MX" dirty="0">
                <a:latin typeface="Consolas" panose="020B0609020204030204" pitchFamily="49" charset="0"/>
              </a:rPr>
              <a:t>$</a:t>
            </a:r>
            <a:r>
              <a:rPr lang="es-MX" dirty="0" err="1">
                <a:latin typeface="Consolas" panose="020B0609020204030204" pitchFamily="49" charset="0"/>
              </a:rPr>
              <a:t>make</a:t>
            </a:r>
            <a:r>
              <a:rPr lang="es-MX" dirty="0">
                <a:latin typeface="Consolas" panose="020B0609020204030204" pitchFamily="49" charset="0"/>
              </a:rPr>
              <a:t> ARCH=</a:t>
            </a:r>
            <a:r>
              <a:rPr lang="es-MX" dirty="0" err="1">
                <a:latin typeface="Consolas" panose="020B0609020204030204" pitchFamily="49" charset="0"/>
              </a:rPr>
              <a:t>arm</a:t>
            </a:r>
            <a:r>
              <a:rPr lang="es-MX" dirty="0">
                <a:latin typeface="Consolas" panose="020B0609020204030204" pitchFamily="49" charset="0"/>
              </a:rPr>
              <a:t> CROSS_COMPILE=</a:t>
            </a:r>
            <a:r>
              <a:rPr lang="es-MX" dirty="0" err="1">
                <a:latin typeface="Consolas" panose="020B0609020204030204" pitchFamily="49" charset="0"/>
              </a:rPr>
              <a:t>arm-linux-gnueabi</a:t>
            </a:r>
            <a:r>
              <a:rPr lang="es-MX" dirty="0">
                <a:latin typeface="Consolas" panose="020B0609020204030204" pitchFamily="49" charset="0"/>
              </a:rPr>
              <a:t>- </a:t>
            </a:r>
            <a:r>
              <a:rPr lang="es-MX" dirty="0" err="1">
                <a:latin typeface="Consolas" panose="020B0609020204030204" pitchFamily="49" charset="0"/>
              </a:rPr>
              <a:t>menuconfig</a:t>
            </a:r>
            <a:endParaRPr lang="es-MX" dirty="0">
              <a:latin typeface="Consolas" panose="020B0609020204030204" pitchFamily="49" charset="0"/>
            </a:endParaRPr>
          </a:p>
          <a:p>
            <a:pPr marL="179025" lvl="1" indent="0">
              <a:buNone/>
            </a:pPr>
            <a:endParaRPr lang="es-MX" dirty="0">
              <a:latin typeface="Consolas" panose="020B0609020204030204" pitchFamily="49" charset="0"/>
            </a:endParaRPr>
          </a:p>
          <a:p>
            <a:r>
              <a:rPr lang="es-MX" dirty="0">
                <a:latin typeface="+mj-lt"/>
              </a:rPr>
              <a:t>Compilación para </a:t>
            </a:r>
            <a:r>
              <a:rPr lang="es-MX" b="1" dirty="0" err="1">
                <a:latin typeface="+mj-lt"/>
              </a:rPr>
              <a:t>BeagleBone</a:t>
            </a:r>
            <a:r>
              <a:rPr lang="es-MX" dirty="0">
                <a:latin typeface="+mj-lt"/>
              </a:rPr>
              <a:t> (ARM </a:t>
            </a:r>
            <a:r>
              <a:rPr lang="es-MX" dirty="0" err="1">
                <a:latin typeface="+mj-lt"/>
              </a:rPr>
              <a:t>toolchain</a:t>
            </a:r>
            <a:r>
              <a:rPr lang="es-MX" dirty="0">
                <a:latin typeface="+mj-lt"/>
              </a:rPr>
              <a:t> Ubuntu/Debian y BB </a:t>
            </a:r>
            <a:r>
              <a:rPr lang="es-MX" dirty="0" err="1">
                <a:latin typeface="+mj-lt"/>
              </a:rPr>
              <a:t>defconfig</a:t>
            </a:r>
            <a:r>
              <a:rPr lang="es-MX" dirty="0">
                <a:latin typeface="+mj-lt"/>
              </a:rPr>
              <a:t>):</a:t>
            </a:r>
          </a:p>
          <a:p>
            <a:pPr lvl="1"/>
            <a:r>
              <a:rPr lang="es-MX" dirty="0">
                <a:latin typeface="Consolas" panose="020B0609020204030204" pitchFamily="49" charset="0"/>
              </a:rPr>
              <a:t>$ </a:t>
            </a:r>
            <a:r>
              <a:rPr lang="es-MX" dirty="0" err="1">
                <a:latin typeface="Consolas" panose="020B0609020204030204" pitchFamily="49" charset="0"/>
              </a:rPr>
              <a:t>make</a:t>
            </a:r>
            <a:r>
              <a:rPr lang="es-MX" dirty="0">
                <a:latin typeface="Consolas" panose="020B0609020204030204" pitchFamily="49" charset="0"/>
              </a:rPr>
              <a:t> ARCH=</a:t>
            </a:r>
            <a:r>
              <a:rPr lang="es-MX" dirty="0" err="1">
                <a:latin typeface="Consolas" panose="020B0609020204030204" pitchFamily="49" charset="0"/>
              </a:rPr>
              <a:t>arm</a:t>
            </a:r>
            <a:r>
              <a:rPr lang="es-MX" dirty="0">
                <a:latin typeface="Consolas" panose="020B0609020204030204" pitchFamily="49" charset="0"/>
              </a:rPr>
              <a:t> CROSS_COMPILE=</a:t>
            </a:r>
            <a:r>
              <a:rPr lang="es-MX" dirty="0" err="1">
                <a:latin typeface="Consolas" panose="020B0609020204030204" pitchFamily="49" charset="0"/>
              </a:rPr>
              <a:t>arm-linux-gnueabi</a:t>
            </a:r>
            <a:r>
              <a:rPr lang="es-MX" dirty="0">
                <a:latin typeface="Consolas" panose="020B0609020204030204" pitchFamily="49" charset="0"/>
              </a:rPr>
              <a:t>- </a:t>
            </a:r>
            <a:r>
              <a:rPr lang="es-MX" dirty="0" err="1">
                <a:latin typeface="Consolas" panose="020B0609020204030204" pitchFamily="49" charset="0"/>
              </a:rPr>
              <a:t>bb.org_defconfig</a:t>
            </a:r>
            <a:endParaRPr lang="es-MX" dirty="0">
              <a:latin typeface="Consolas" panose="020B0609020204030204" pitchFamily="49" charset="0"/>
            </a:endParaRPr>
          </a:p>
          <a:p>
            <a:pPr lvl="1"/>
            <a:r>
              <a:rPr lang="es-MX" dirty="0">
                <a:latin typeface="Consolas" panose="020B0609020204030204" pitchFamily="49" charset="0"/>
              </a:rPr>
              <a:t>$ </a:t>
            </a:r>
            <a:r>
              <a:rPr lang="es-MX" dirty="0" err="1">
                <a:latin typeface="Consolas" panose="020B0609020204030204" pitchFamily="49" charset="0"/>
              </a:rPr>
              <a:t>make</a:t>
            </a:r>
            <a:r>
              <a:rPr lang="es-MX" dirty="0">
                <a:latin typeface="Consolas" panose="020B0609020204030204" pitchFamily="49" charset="0"/>
              </a:rPr>
              <a:t> ARCH=</a:t>
            </a:r>
            <a:r>
              <a:rPr lang="es-MX" dirty="0" err="1">
                <a:latin typeface="Consolas" panose="020B0609020204030204" pitchFamily="49" charset="0"/>
              </a:rPr>
              <a:t>arm</a:t>
            </a:r>
            <a:r>
              <a:rPr lang="es-MX" dirty="0">
                <a:latin typeface="Consolas" panose="020B0609020204030204" pitchFamily="49" charset="0"/>
              </a:rPr>
              <a:t> CROSS_COMPILE=</a:t>
            </a:r>
            <a:r>
              <a:rPr lang="es-MX" dirty="0" err="1">
                <a:latin typeface="Consolas" panose="020B0609020204030204" pitchFamily="49" charset="0"/>
              </a:rPr>
              <a:t>arm-linux-gnueabi</a:t>
            </a:r>
            <a:r>
              <a:rPr lang="es-MX" dirty="0">
                <a:latin typeface="Consolas" panose="020B0609020204030204" pitchFamily="49" charset="0"/>
              </a:rPr>
              <a:t>- </a:t>
            </a:r>
            <a:r>
              <a:rPr lang="es-MX" dirty="0" err="1">
                <a:latin typeface="Consolas" panose="020B0609020204030204" pitchFamily="49" charset="0"/>
              </a:rPr>
              <a:t>uImage</a:t>
            </a:r>
            <a:r>
              <a:rPr lang="es-MX" dirty="0">
                <a:latin typeface="Consolas" panose="020B0609020204030204" pitchFamily="49" charset="0"/>
              </a:rPr>
              <a:t> </a:t>
            </a:r>
            <a:r>
              <a:rPr lang="es-MX" dirty="0" err="1">
                <a:latin typeface="Consolas" panose="020B0609020204030204" pitchFamily="49" charset="0"/>
              </a:rPr>
              <a:t>dtbs</a:t>
            </a:r>
            <a:endParaRPr lang="es-MX" dirty="0">
              <a:latin typeface="Consolas" panose="020B0609020204030204" pitchFamily="49" charset="0"/>
            </a:endParaRPr>
          </a:p>
          <a:p>
            <a:pPr lvl="1"/>
            <a:r>
              <a:rPr lang="es-MX" dirty="0">
                <a:latin typeface="Consolas" panose="020B0609020204030204" pitchFamily="49" charset="0"/>
              </a:rPr>
              <a:t>$ </a:t>
            </a:r>
            <a:r>
              <a:rPr lang="es-MX" dirty="0" err="1">
                <a:latin typeface="Consolas" panose="020B0609020204030204" pitchFamily="49" charset="0"/>
              </a:rPr>
              <a:t>make</a:t>
            </a:r>
            <a:r>
              <a:rPr lang="es-MX" dirty="0">
                <a:latin typeface="Consolas" panose="020B0609020204030204" pitchFamily="49" charset="0"/>
              </a:rPr>
              <a:t> ARCH=</a:t>
            </a:r>
            <a:r>
              <a:rPr lang="es-MX" dirty="0" err="1">
                <a:latin typeface="Consolas" panose="020B0609020204030204" pitchFamily="49" charset="0"/>
              </a:rPr>
              <a:t>arm</a:t>
            </a:r>
            <a:r>
              <a:rPr lang="es-MX" dirty="0">
                <a:latin typeface="Consolas" panose="020B0609020204030204" pitchFamily="49" charset="0"/>
              </a:rPr>
              <a:t> CROSS_COMPILE=</a:t>
            </a:r>
            <a:r>
              <a:rPr lang="es-MX" dirty="0" err="1">
                <a:latin typeface="Consolas" panose="020B0609020204030204" pitchFamily="49" charset="0"/>
              </a:rPr>
              <a:t>arm-linux-gnueabi</a:t>
            </a:r>
            <a:r>
              <a:rPr lang="es-MX" dirty="0">
                <a:latin typeface="Consolas" panose="020B0609020204030204" pitchFamily="49" charset="0"/>
              </a:rPr>
              <a:t>- modules</a:t>
            </a:r>
          </a:p>
          <a:p>
            <a:pPr marL="179025" lvl="1" indent="0">
              <a:buNone/>
            </a:pPr>
            <a:endParaRPr lang="es-MX" dirty="0">
              <a:latin typeface="Consolas" panose="020B0609020204030204" pitchFamily="49" charset="0"/>
            </a:endParaRPr>
          </a:p>
          <a:p>
            <a:pPr lvl="1"/>
            <a:endParaRPr lang="es-MX" dirty="0">
              <a:latin typeface="Consolas" panose="020B0609020204030204" pitchFamily="49" charset="0"/>
            </a:endParaRPr>
          </a:p>
          <a:p>
            <a:pPr marL="179025" lvl="1" indent="0">
              <a:buNone/>
            </a:pPr>
            <a:endParaRPr lang="es-MX" dirty="0">
              <a:latin typeface="Consolas" panose="020B0609020204030204" pitchFamily="49" charset="0"/>
            </a:endParaRPr>
          </a:p>
          <a:p>
            <a:endParaRPr lang="es-MX" dirty="0">
              <a:latin typeface="Consolas" panose="020B0609020204030204" pitchFamily="49" charset="0"/>
            </a:endParaRPr>
          </a:p>
          <a:p>
            <a:endParaRPr lang="es-MX" dirty="0">
              <a:latin typeface="Consolas" panose="020B0609020204030204" pitchFamily="49" charset="0"/>
            </a:endParaRPr>
          </a:p>
          <a:p>
            <a:endParaRPr lang="en-US" dirty="0">
              <a:latin typeface="Consolas" panose="020B0609020204030204" pitchFamily="49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23AC9B-1658-45C6-B404-0007F235C8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D5D0-F569-47EB-A98B-6980FF8F80E9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28562E-EC68-471D-88BA-D06B117E7A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9623F1-5252-46AC-A74C-1423758E6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0819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2F981-71CF-0EE0-6814-377D30C11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Binarios intermedio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6C4505-1E03-D532-EE36-1268E6AA72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Cada archivo de código fuente se compila en un archivo objeto (.o) en el mismo directorio</a:t>
            </a:r>
          </a:p>
          <a:p>
            <a:endParaRPr lang="es-MX" dirty="0"/>
          </a:p>
          <a:p>
            <a:r>
              <a:rPr lang="es-MX" dirty="0"/>
              <a:t>En (casi) cada subdirectorio del código de Linux se crea un archive de los archivos objeto (</a:t>
            </a:r>
            <a:r>
              <a:rPr lang="es-MX" dirty="0" err="1"/>
              <a:t>built-in.a</a:t>
            </a:r>
            <a:r>
              <a:rPr lang="es-MX" dirty="0"/>
              <a:t>) utilizando </a:t>
            </a:r>
            <a:r>
              <a:rPr lang="es-MX" i="1" dirty="0"/>
              <a:t>AR =</a:t>
            </a:r>
            <a:r>
              <a:rPr lang="es-MX" dirty="0"/>
              <a:t>&gt; Bibliotecas estáticas</a:t>
            </a:r>
          </a:p>
          <a:p>
            <a:r>
              <a:rPr lang="es-MX" dirty="0"/>
              <a:t>Al final todos los archives se enlazan para generar el archivo ELF </a:t>
            </a:r>
            <a:r>
              <a:rPr lang="es-MX" b="1" dirty="0" err="1"/>
              <a:t>vmlinux</a:t>
            </a:r>
            <a:endParaRPr lang="es-MX" b="1" dirty="0"/>
          </a:p>
          <a:p>
            <a:pPr lvl="1"/>
            <a:endParaRPr lang="es-MX" dirty="0"/>
          </a:p>
          <a:p>
            <a:r>
              <a:rPr lang="es-MX" dirty="0"/>
              <a:t>Los módulos (.</a:t>
            </a:r>
            <a:r>
              <a:rPr lang="es-MX" dirty="0" err="1"/>
              <a:t>ko</a:t>
            </a:r>
            <a:r>
              <a:rPr lang="es-MX" dirty="0"/>
              <a:t>) se enlazan de acuerdo a la configuración a partir de los archivos objeto</a:t>
            </a:r>
          </a:p>
          <a:p>
            <a:pPr lvl="1"/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CF8621-334A-38C5-3D90-13B593E490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10090-39AF-4795-80D8-6C9E97BF4030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CECB51-CF53-0C22-794C-CA4D91FAB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666E9C-A23F-5975-061F-2DB83E696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1103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2AE1D-189A-4418-ADC9-22219F113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986" y="379498"/>
            <a:ext cx="11375997" cy="935994"/>
          </a:xfrm>
        </p:spPr>
        <p:txBody>
          <a:bodyPr/>
          <a:lstStyle/>
          <a:p>
            <a:r>
              <a:rPr lang="es-MX" dirty="0"/>
              <a:t>Binarios del </a:t>
            </a:r>
            <a:r>
              <a:rPr lang="es-MX" dirty="0" err="1"/>
              <a:t>kern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DC8A90-4DC7-4DF7-979B-4224D4AE4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448780"/>
            <a:ext cx="11375997" cy="4572000"/>
          </a:xfrm>
        </p:spPr>
        <p:txBody>
          <a:bodyPr>
            <a:normAutofit/>
          </a:bodyPr>
          <a:lstStyle/>
          <a:p>
            <a:pPr lvl="1"/>
            <a:r>
              <a:rPr lang="es-MX" dirty="0"/>
              <a:t>Después de la compilación y enlazado, las imágenes (binarios) del </a:t>
            </a:r>
            <a:r>
              <a:rPr lang="es-MX" dirty="0" err="1"/>
              <a:t>kernel</a:t>
            </a:r>
            <a:r>
              <a:rPr lang="es-MX" dirty="0"/>
              <a:t> y </a:t>
            </a:r>
            <a:r>
              <a:rPr lang="es-MX" dirty="0" err="1"/>
              <a:t>device</a:t>
            </a:r>
            <a:r>
              <a:rPr lang="es-MX" dirty="0"/>
              <a:t> </a:t>
            </a:r>
            <a:r>
              <a:rPr lang="es-MX" dirty="0" err="1"/>
              <a:t>tree</a:t>
            </a:r>
            <a:r>
              <a:rPr lang="es-MX" dirty="0"/>
              <a:t> (</a:t>
            </a:r>
            <a:r>
              <a:rPr lang="es-MX" dirty="0" err="1"/>
              <a:t>dtb</a:t>
            </a:r>
            <a:r>
              <a:rPr lang="es-MX" dirty="0"/>
              <a:t>) estarán en: </a:t>
            </a:r>
            <a:r>
              <a:rPr lang="es-MX" i="1" dirty="0" err="1"/>
              <a:t>arch</a:t>
            </a:r>
            <a:r>
              <a:rPr lang="es-MX" i="1" dirty="0"/>
              <a:t>/$(ARCH)/</a:t>
            </a:r>
            <a:r>
              <a:rPr lang="es-MX" i="1" dirty="0" err="1"/>
              <a:t>boot</a:t>
            </a:r>
            <a:r>
              <a:rPr lang="es-MX" i="1" dirty="0"/>
              <a:t>/</a:t>
            </a:r>
          </a:p>
          <a:p>
            <a:pPr lvl="1"/>
            <a:r>
              <a:rPr lang="es-MX" dirty="0"/>
              <a:t>Los binarios resultantes dependerán de los parámetros (targets) que reciba </a:t>
            </a:r>
            <a:r>
              <a:rPr lang="es-MX" dirty="0" err="1"/>
              <a:t>make</a:t>
            </a:r>
            <a:r>
              <a:rPr lang="es-MX" dirty="0"/>
              <a:t> y la arquitectura del target</a:t>
            </a:r>
          </a:p>
          <a:p>
            <a:pPr lvl="1"/>
            <a:endParaRPr lang="es-MX" dirty="0"/>
          </a:p>
          <a:p>
            <a:pPr lvl="1"/>
            <a:r>
              <a:rPr lang="es-MX" dirty="0"/>
              <a:t>Principales:</a:t>
            </a:r>
          </a:p>
          <a:p>
            <a:pPr lvl="2"/>
            <a:r>
              <a:rPr lang="es-MX" b="1" dirty="0" err="1"/>
              <a:t>vmlinux</a:t>
            </a:r>
            <a:r>
              <a:rPr lang="es-MX" dirty="0"/>
              <a:t>: </a:t>
            </a:r>
            <a:r>
              <a:rPr lang="es-MX" dirty="0" err="1"/>
              <a:t>kernel</a:t>
            </a:r>
            <a:r>
              <a:rPr lang="es-MX" dirty="0"/>
              <a:t> de Linux, ELF enlazado estáticamente, no es </a:t>
            </a:r>
            <a:r>
              <a:rPr lang="es-MX" dirty="0" err="1"/>
              <a:t>booteable</a:t>
            </a:r>
            <a:r>
              <a:rPr lang="es-MX" dirty="0"/>
              <a:t> pero es útil para depuración</a:t>
            </a:r>
          </a:p>
          <a:p>
            <a:pPr lvl="2"/>
            <a:r>
              <a:rPr lang="es-MX" b="1" dirty="0" err="1"/>
              <a:t>vmlinux.bin</a:t>
            </a:r>
            <a:r>
              <a:rPr lang="es-MX" b="1" dirty="0"/>
              <a:t>/</a:t>
            </a:r>
            <a:r>
              <a:rPr lang="es-MX" b="1" dirty="0" err="1"/>
              <a:t>Image</a:t>
            </a:r>
            <a:r>
              <a:rPr lang="es-MX" dirty="0"/>
              <a:t>: </a:t>
            </a:r>
            <a:r>
              <a:rPr lang="es-MX" dirty="0" err="1"/>
              <a:t>vmlinux</a:t>
            </a:r>
            <a:r>
              <a:rPr lang="es-MX" dirty="0"/>
              <a:t> convertido en binario “crudo”, no es </a:t>
            </a:r>
            <a:r>
              <a:rPr lang="es-MX" dirty="0" err="1"/>
              <a:t>booteable</a:t>
            </a:r>
            <a:r>
              <a:rPr lang="es-MX" dirty="0"/>
              <a:t> aún</a:t>
            </a:r>
          </a:p>
          <a:p>
            <a:pPr lvl="2"/>
            <a:r>
              <a:rPr lang="es-MX" b="1" dirty="0" err="1"/>
              <a:t>vmlinuz</a:t>
            </a:r>
            <a:r>
              <a:rPr lang="es-MX" b="1" dirty="0"/>
              <a:t>/</a:t>
            </a:r>
            <a:r>
              <a:rPr lang="es-MX" b="1" dirty="0" err="1"/>
              <a:t>zImage</a:t>
            </a:r>
            <a:r>
              <a:rPr lang="es-MX" dirty="0"/>
              <a:t>: </a:t>
            </a:r>
            <a:r>
              <a:rPr lang="es-MX" dirty="0" err="1"/>
              <a:t>kernel</a:t>
            </a:r>
            <a:r>
              <a:rPr lang="es-MX" dirty="0"/>
              <a:t> de Linux en formato comprimido, </a:t>
            </a:r>
            <a:r>
              <a:rPr lang="es-MX" dirty="0" err="1"/>
              <a:t>booteable</a:t>
            </a:r>
            <a:endParaRPr lang="es-MX" dirty="0"/>
          </a:p>
          <a:p>
            <a:pPr lvl="2"/>
            <a:r>
              <a:rPr lang="es-MX" b="1" dirty="0" err="1"/>
              <a:t>uImage</a:t>
            </a:r>
            <a:r>
              <a:rPr lang="es-MX" dirty="0"/>
              <a:t>: </a:t>
            </a:r>
            <a:r>
              <a:rPr lang="es-MX" dirty="0" err="1"/>
              <a:t>zImage</a:t>
            </a:r>
            <a:r>
              <a:rPr lang="es-MX" dirty="0"/>
              <a:t> +  U-</a:t>
            </a:r>
            <a:r>
              <a:rPr lang="es-MX" dirty="0" err="1"/>
              <a:t>Boot</a:t>
            </a:r>
            <a:r>
              <a:rPr lang="es-MX" dirty="0"/>
              <a:t> </a:t>
            </a:r>
            <a:r>
              <a:rPr lang="es-MX" dirty="0" err="1"/>
              <a:t>header</a:t>
            </a:r>
            <a:endParaRPr lang="es-MX" dirty="0"/>
          </a:p>
          <a:p>
            <a:pPr lvl="2"/>
            <a:endParaRPr lang="es-MX" dirty="0"/>
          </a:p>
          <a:p>
            <a:pPr lvl="2"/>
            <a:r>
              <a:rPr lang="es-MX" b="1" dirty="0" err="1"/>
              <a:t>dtb</a:t>
            </a:r>
            <a:r>
              <a:rPr lang="es-MX" dirty="0"/>
              <a:t>: </a:t>
            </a:r>
            <a:r>
              <a:rPr lang="es-MX" dirty="0" err="1"/>
              <a:t>device</a:t>
            </a:r>
            <a:r>
              <a:rPr lang="es-MX" dirty="0"/>
              <a:t> </a:t>
            </a:r>
            <a:r>
              <a:rPr lang="es-MX" dirty="0" err="1"/>
              <a:t>tree</a:t>
            </a:r>
            <a:r>
              <a:rPr lang="es-MX" dirty="0"/>
              <a:t> ya compilado (binario)</a:t>
            </a:r>
          </a:p>
          <a:p>
            <a:pPr lvl="2"/>
            <a:r>
              <a:rPr lang="es-MX" b="1" dirty="0"/>
              <a:t>*.</a:t>
            </a:r>
            <a:r>
              <a:rPr lang="es-MX" b="1" dirty="0" err="1"/>
              <a:t>ko</a:t>
            </a:r>
            <a:r>
              <a:rPr lang="es-MX" dirty="0"/>
              <a:t>: módulos cargables en tiempo de ejecución</a:t>
            </a:r>
          </a:p>
          <a:p>
            <a:pPr lvl="2"/>
            <a:endParaRPr lang="es-MX" dirty="0"/>
          </a:p>
          <a:p>
            <a:pPr lvl="2"/>
            <a:endParaRPr lang="en-US" dirty="0"/>
          </a:p>
          <a:p>
            <a:pPr marL="179025" lvl="1" indent="0">
              <a:buNone/>
            </a:pPr>
            <a:endParaRPr lang="en-US" i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55BE40-153E-438A-936D-8F065DF96D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D48A0-F56C-423E-B0FB-D7135FFF750F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2F5A6D-E002-4DFD-8BEF-7863ACC25A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1597C3-4B89-4E81-88E6-BB35AEBDC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655094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F35540-4CF1-9897-742A-F6B44218F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Generación del </a:t>
            </a:r>
            <a:r>
              <a:rPr lang="es-MX" dirty="0" err="1"/>
              <a:t>kernel</a:t>
            </a:r>
            <a:r>
              <a:rPr lang="es-MX" dirty="0"/>
              <a:t> </a:t>
            </a:r>
            <a:r>
              <a:rPr lang="es-MX" dirty="0" err="1"/>
              <a:t>booteable</a:t>
            </a:r>
            <a:r>
              <a:rPr lang="es-MX" dirty="0"/>
              <a:t> (ARM)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A22043-DED1-8D23-D6BA-7910DDDEF3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9322D-0536-4C3A-9089-A43B20F4FC22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9CC654-9FE5-EF8E-E0CA-A377C9F1D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AC5E27-0CEE-DE32-90D1-BDFE1ABD8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7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AD57DF7-4F42-7EB5-66CE-567E0F4C7D7F}"/>
              </a:ext>
            </a:extLst>
          </p:cNvPr>
          <p:cNvSpPr/>
          <p:nvPr/>
        </p:nvSpPr>
        <p:spPr>
          <a:xfrm>
            <a:off x="461479" y="2329053"/>
            <a:ext cx="1044116" cy="169244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b="1" dirty="0" err="1">
                <a:solidFill>
                  <a:srgbClr val="181818"/>
                </a:solidFill>
                <a:latin typeface="Arial" panose="020B0604020202020204" pitchFamily="34" charset="0"/>
              </a:rPr>
              <a:t>vmlinux</a:t>
            </a:r>
            <a:endParaRPr lang="en-US" sz="1600" b="1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4284088-848C-DFC9-FAF9-573572FA1F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2829" y="2312748"/>
            <a:ext cx="1368152" cy="169244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arch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arm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boot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b="1" dirty="0" err="1">
                <a:solidFill>
                  <a:srgbClr val="181818"/>
                </a:solidFill>
                <a:latin typeface="Arial" panose="020B0604020202020204" pitchFamily="34" charset="0"/>
              </a:rPr>
              <a:t>Image</a:t>
            </a:r>
            <a:endParaRPr lang="en-US" sz="1600" b="1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D7456ECF-9294-1291-9EE3-D8D105CC2247}"/>
              </a:ext>
            </a:extLst>
          </p:cNvPr>
          <p:cNvSpPr txBox="1">
            <a:spLocks/>
          </p:cNvSpPr>
          <p:nvPr/>
        </p:nvSpPr>
        <p:spPr>
          <a:xfrm>
            <a:off x="3998992" y="2327230"/>
            <a:ext cx="1279870" cy="169244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lIns="0" tIns="18000" rIns="0" bIns="18000" rtlCol="0" anchor="ctr">
            <a:normAutofit/>
          </a:bodyPr>
          <a:lstStyle>
            <a:lvl1pPr marL="180975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0"/>
              </a:spcAft>
              <a:buFont typeface="Arial" pitchFamily="34" charset="0"/>
              <a:buNone/>
            </a:pP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arch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arm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boot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compressed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b="1" dirty="0" err="1">
                <a:solidFill>
                  <a:srgbClr val="181818"/>
                </a:solidFill>
                <a:latin typeface="Arial" panose="020B0604020202020204" pitchFamily="34" charset="0"/>
              </a:rPr>
              <a:t>piggy_data</a:t>
            </a:r>
            <a:endParaRPr lang="en-US" sz="1600" b="1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7CB4B566-983D-7595-D43E-84AE1EC895C8}"/>
              </a:ext>
            </a:extLst>
          </p:cNvPr>
          <p:cNvSpPr txBox="1">
            <a:spLocks/>
          </p:cNvSpPr>
          <p:nvPr/>
        </p:nvSpPr>
        <p:spPr>
          <a:xfrm>
            <a:off x="5846873" y="2240868"/>
            <a:ext cx="1279870" cy="115302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lIns="0" tIns="18000" rIns="0" bIns="18000" rtlCol="0" anchor="ctr">
            <a:normAutofit/>
          </a:bodyPr>
          <a:lstStyle>
            <a:lvl1pPr marL="180975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0"/>
              </a:spcAft>
              <a:buFont typeface="Arial" pitchFamily="34" charset="0"/>
              <a:buNone/>
            </a:pP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arch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arm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boot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compressed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b="1" dirty="0" err="1">
                <a:solidFill>
                  <a:srgbClr val="181818"/>
                </a:solidFill>
                <a:latin typeface="Arial" panose="020B0604020202020204" pitchFamily="34" charset="0"/>
              </a:rPr>
              <a:t>piggy.o</a:t>
            </a:r>
            <a:endParaRPr lang="en-US" sz="1600" b="1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1B672F-ACDA-ECEB-94D2-4ECD6DF74DF6}"/>
              </a:ext>
            </a:extLst>
          </p:cNvPr>
          <p:cNvSpPr/>
          <p:nvPr/>
        </p:nvSpPr>
        <p:spPr>
          <a:xfrm>
            <a:off x="7686356" y="2349645"/>
            <a:ext cx="1044116" cy="1735131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arch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arm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boot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compressed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b="1" dirty="0" err="1">
                <a:solidFill>
                  <a:srgbClr val="181818"/>
                </a:solidFill>
                <a:latin typeface="Arial" panose="020B0604020202020204" pitchFamily="34" charset="0"/>
              </a:rPr>
              <a:t>vmlinux</a:t>
            </a:r>
            <a:endParaRPr lang="en-US" sz="1600" b="1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558623-FA5C-66C5-F04F-2EDEF1096F83}"/>
              </a:ext>
            </a:extLst>
          </p:cNvPr>
          <p:cNvSpPr/>
          <p:nvPr/>
        </p:nvSpPr>
        <p:spPr>
          <a:xfrm>
            <a:off x="9330300" y="2349647"/>
            <a:ext cx="864096" cy="169244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arch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arm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boot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b="1" dirty="0" err="1">
                <a:solidFill>
                  <a:srgbClr val="181818"/>
                </a:solidFill>
                <a:latin typeface="Arial" panose="020B0604020202020204" pitchFamily="34" charset="0"/>
              </a:rPr>
              <a:t>zImage</a:t>
            </a:r>
            <a:endParaRPr lang="en-US" sz="1600" b="1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D1A2D2-20ED-7AB2-BA4E-D91C26AD2370}"/>
              </a:ext>
            </a:extLst>
          </p:cNvPr>
          <p:cNvSpPr/>
          <p:nvPr/>
        </p:nvSpPr>
        <p:spPr>
          <a:xfrm>
            <a:off x="10776520" y="2349646"/>
            <a:ext cx="864096" cy="169244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arch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arm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boot</a:t>
            </a: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/</a:t>
            </a:r>
            <a:r>
              <a:rPr lang="es-MX" sz="1600" b="1" dirty="0" err="1">
                <a:solidFill>
                  <a:srgbClr val="181818"/>
                </a:solidFill>
                <a:latin typeface="Arial" panose="020B0604020202020204" pitchFamily="34" charset="0"/>
              </a:rPr>
              <a:t>uImage</a:t>
            </a:r>
            <a:endParaRPr lang="en-US" sz="1600" b="1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E039A3-8A4E-DB00-AAFC-5FC93059C94E}"/>
              </a:ext>
            </a:extLst>
          </p:cNvPr>
          <p:cNvSpPr txBox="1"/>
          <p:nvPr/>
        </p:nvSpPr>
        <p:spPr>
          <a:xfrm>
            <a:off x="3453492" y="3390379"/>
            <a:ext cx="465192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gzip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37B2F20-D769-6134-BFF4-50E7CF786CC6}"/>
              </a:ext>
            </a:extLst>
          </p:cNvPr>
          <p:cNvSpPr txBox="1"/>
          <p:nvPr/>
        </p:nvSpPr>
        <p:spPr>
          <a:xfrm>
            <a:off x="1432582" y="3393889"/>
            <a:ext cx="712054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2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o</a:t>
            </a:r>
            <a:r>
              <a:rPr lang="es-MX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bjcopy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C29F7B1-5D05-7C34-A85A-659631231CBD}"/>
              </a:ext>
            </a:extLst>
          </p:cNvPr>
          <p:cNvSpPr txBox="1"/>
          <p:nvPr/>
        </p:nvSpPr>
        <p:spPr>
          <a:xfrm>
            <a:off x="5383786" y="3032956"/>
            <a:ext cx="346570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as</a:t>
            </a:r>
            <a:endParaRPr lang="en-US" sz="12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460F974-CA20-1097-8A14-85185052BDFA}"/>
              </a:ext>
            </a:extLst>
          </p:cNvPr>
          <p:cNvSpPr txBox="1"/>
          <p:nvPr/>
        </p:nvSpPr>
        <p:spPr>
          <a:xfrm>
            <a:off x="7254905" y="3344557"/>
            <a:ext cx="303288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2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ld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4A80097-8FAF-272B-993D-F6E83C85688C}"/>
              </a:ext>
            </a:extLst>
          </p:cNvPr>
          <p:cNvSpPr txBox="1"/>
          <p:nvPr/>
        </p:nvSpPr>
        <p:spPr>
          <a:xfrm>
            <a:off x="8683211" y="3338890"/>
            <a:ext cx="712054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2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o</a:t>
            </a:r>
            <a:r>
              <a:rPr lang="es-MX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bjcopy</a:t>
            </a:r>
            <a:endParaRPr lang="en-US" sz="12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8CD2363-5455-A775-183E-3F3AF20D9E6E}"/>
              </a:ext>
            </a:extLst>
          </p:cNvPr>
          <p:cNvSpPr txBox="1"/>
          <p:nvPr/>
        </p:nvSpPr>
        <p:spPr>
          <a:xfrm>
            <a:off x="10081019" y="3307675"/>
            <a:ext cx="806631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mkimage</a:t>
            </a:r>
            <a:endParaRPr lang="es-MX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A397C774-E763-BCD6-F8C5-FB167CBD2791}"/>
              </a:ext>
            </a:extLst>
          </p:cNvPr>
          <p:cNvSpPr/>
          <p:nvPr/>
        </p:nvSpPr>
        <p:spPr>
          <a:xfrm>
            <a:off x="1640376" y="3077364"/>
            <a:ext cx="351168" cy="316525"/>
          </a:xfrm>
          <a:prstGeom prst="right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A75AF095-C438-05F4-F0CC-C4DF41025477}"/>
              </a:ext>
            </a:extLst>
          </p:cNvPr>
          <p:cNvSpPr/>
          <p:nvPr/>
        </p:nvSpPr>
        <p:spPr>
          <a:xfrm>
            <a:off x="3540379" y="3077364"/>
            <a:ext cx="351168" cy="316525"/>
          </a:xfrm>
          <a:prstGeom prst="right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9E5BA0B3-539C-1D1D-F4B1-F4D2BE2F886F}"/>
              </a:ext>
            </a:extLst>
          </p:cNvPr>
          <p:cNvSpPr/>
          <p:nvPr/>
        </p:nvSpPr>
        <p:spPr>
          <a:xfrm>
            <a:off x="5403192" y="2708920"/>
            <a:ext cx="351168" cy="316525"/>
          </a:xfrm>
          <a:prstGeom prst="right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AFF88594-55DE-484D-0657-720A93BFDCE0}"/>
              </a:ext>
            </a:extLst>
          </p:cNvPr>
          <p:cNvSpPr/>
          <p:nvPr/>
        </p:nvSpPr>
        <p:spPr>
          <a:xfrm>
            <a:off x="7242923" y="3037604"/>
            <a:ext cx="351168" cy="316525"/>
          </a:xfrm>
          <a:prstGeom prst="right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FE9ED8AB-F000-6A5B-5CE1-C54439AF4184}"/>
              </a:ext>
            </a:extLst>
          </p:cNvPr>
          <p:cNvSpPr/>
          <p:nvPr/>
        </p:nvSpPr>
        <p:spPr>
          <a:xfrm>
            <a:off x="8854802" y="3031741"/>
            <a:ext cx="351168" cy="316525"/>
          </a:xfrm>
          <a:prstGeom prst="right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EF0D8F76-8459-6417-21E3-BF19E68EB78A}"/>
              </a:ext>
            </a:extLst>
          </p:cNvPr>
          <p:cNvSpPr/>
          <p:nvPr/>
        </p:nvSpPr>
        <p:spPr>
          <a:xfrm>
            <a:off x="10324905" y="3032611"/>
            <a:ext cx="351168" cy="316525"/>
          </a:xfrm>
          <a:prstGeom prst="right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7" name="Content Placeholder 7">
            <a:extLst>
              <a:ext uri="{FF2B5EF4-FFF2-40B4-BE49-F238E27FC236}">
                <a16:creationId xmlns:a16="http://schemas.microsoft.com/office/drawing/2014/main" id="{3D499A8B-3508-8DB2-EBF1-788F1A73FA1A}"/>
              </a:ext>
            </a:extLst>
          </p:cNvPr>
          <p:cNvSpPr txBox="1">
            <a:spLocks/>
          </p:cNvSpPr>
          <p:nvPr/>
        </p:nvSpPr>
        <p:spPr>
          <a:xfrm>
            <a:off x="5844889" y="3849223"/>
            <a:ext cx="1279870" cy="35076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lIns="0" tIns="18000" rIns="0" bIns="18000" rtlCol="0" anchor="ctr">
            <a:normAutofit/>
          </a:bodyPr>
          <a:lstStyle>
            <a:lvl1pPr marL="180975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0"/>
              </a:spcAft>
              <a:buFont typeface="Arial" pitchFamily="34" charset="0"/>
              <a:buNone/>
            </a:pP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head.o</a:t>
            </a:r>
            <a:endParaRPr lang="en-US" sz="1600" b="1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8" name="Content Placeholder 7">
            <a:extLst>
              <a:ext uri="{FF2B5EF4-FFF2-40B4-BE49-F238E27FC236}">
                <a16:creationId xmlns:a16="http://schemas.microsoft.com/office/drawing/2014/main" id="{DC7E6437-FF8E-A49A-C100-9D7D6AF3AD68}"/>
              </a:ext>
            </a:extLst>
          </p:cNvPr>
          <p:cNvSpPr txBox="1">
            <a:spLocks/>
          </p:cNvSpPr>
          <p:nvPr/>
        </p:nvSpPr>
        <p:spPr>
          <a:xfrm>
            <a:off x="5860986" y="3446175"/>
            <a:ext cx="1279870" cy="35076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lIns="0" tIns="18000" rIns="0" bIns="18000" rtlCol="0" anchor="ctr">
            <a:normAutofit/>
          </a:bodyPr>
          <a:lstStyle>
            <a:lvl1pPr marL="180975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0"/>
              </a:spcAft>
              <a:buFont typeface="Arial" pitchFamily="34" charset="0"/>
              <a:buNone/>
            </a:pPr>
            <a:r>
              <a:rPr lang="es-MX" sz="1600" dirty="0" err="1">
                <a:solidFill>
                  <a:srgbClr val="181818"/>
                </a:solidFill>
                <a:latin typeface="Arial" panose="020B0604020202020204" pitchFamily="34" charset="0"/>
              </a:rPr>
              <a:t>misc.o</a:t>
            </a:r>
            <a:endParaRPr lang="en-US" sz="160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9F15152-C5E8-E35A-3923-D33F276CA440}"/>
              </a:ext>
            </a:extLst>
          </p:cNvPr>
          <p:cNvSpPr txBox="1"/>
          <p:nvPr/>
        </p:nvSpPr>
        <p:spPr>
          <a:xfrm>
            <a:off x="319864" y="4086812"/>
            <a:ext cx="1378904" cy="307777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ELF ejecutable</a:t>
            </a:r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268242E-74EE-38E1-EF12-BD627591A144}"/>
              </a:ext>
            </a:extLst>
          </p:cNvPr>
          <p:cNvSpPr txBox="1"/>
          <p:nvPr/>
        </p:nvSpPr>
        <p:spPr>
          <a:xfrm>
            <a:off x="4064090" y="4074062"/>
            <a:ext cx="1149674" cy="307777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Comprimido</a:t>
            </a:r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51583BF-4032-8E9A-11B9-730E0E6E1E38}"/>
              </a:ext>
            </a:extLst>
          </p:cNvPr>
          <p:cNvSpPr txBox="1"/>
          <p:nvPr/>
        </p:nvSpPr>
        <p:spPr>
          <a:xfrm>
            <a:off x="2127184" y="4063630"/>
            <a:ext cx="1239442" cy="307777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Binario crudo</a:t>
            </a:r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D841FDA-1DA7-2E3D-D6D9-21DCA2EB2E9D}"/>
              </a:ext>
            </a:extLst>
          </p:cNvPr>
          <p:cNvSpPr txBox="1"/>
          <p:nvPr/>
        </p:nvSpPr>
        <p:spPr>
          <a:xfrm>
            <a:off x="5775335" y="4165920"/>
            <a:ext cx="1418978" cy="52322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…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ELF enlazables</a:t>
            </a:r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AA4EADD-945D-6071-9A5C-D7969FA313F0}"/>
              </a:ext>
            </a:extLst>
          </p:cNvPr>
          <p:cNvSpPr txBox="1"/>
          <p:nvPr/>
        </p:nvSpPr>
        <p:spPr>
          <a:xfrm>
            <a:off x="9183831" y="4084776"/>
            <a:ext cx="1279870" cy="52322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Binario crudo </a:t>
            </a:r>
            <a:r>
              <a:rPr lang="es-MX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booteable</a:t>
            </a:r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5E53205-8F1C-683C-F5C3-8FF802E7033E}"/>
              </a:ext>
            </a:extLst>
          </p:cNvPr>
          <p:cNvSpPr txBox="1"/>
          <p:nvPr/>
        </p:nvSpPr>
        <p:spPr>
          <a:xfrm>
            <a:off x="10631025" y="4084777"/>
            <a:ext cx="1279870" cy="73866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Binario crudo </a:t>
            </a:r>
            <a:r>
              <a:rPr lang="es-MX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booteable</a:t>
            </a:r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 (U-</a:t>
            </a:r>
            <a:r>
              <a:rPr lang="es-MX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Boot</a:t>
            </a:r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D514922-8566-D6D7-18E5-D20B2E88962D}"/>
              </a:ext>
            </a:extLst>
          </p:cNvPr>
          <p:cNvSpPr txBox="1"/>
          <p:nvPr/>
        </p:nvSpPr>
        <p:spPr>
          <a:xfrm>
            <a:off x="7538174" y="4126436"/>
            <a:ext cx="1378904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ELF ejecutable</a:t>
            </a:r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95082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132E07-C7A0-16F0-BA82-59B827414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Device</a:t>
            </a:r>
            <a:r>
              <a:rPr lang="es-MX" dirty="0"/>
              <a:t> </a:t>
            </a:r>
            <a:r>
              <a:rPr lang="es-MX" dirty="0" err="1"/>
              <a:t>tre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6C84C0-E0BE-026E-9D6A-575D93A042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Representación de los dispositivos conectados al sistema ya sea interna o externamente</a:t>
            </a:r>
          </a:p>
          <a:p>
            <a:r>
              <a:rPr lang="es-MX" dirty="0"/>
              <a:t>Se describen en archivos fuente (.</a:t>
            </a:r>
            <a:r>
              <a:rPr lang="es-MX" dirty="0" err="1"/>
              <a:t>dts</a:t>
            </a:r>
            <a:r>
              <a:rPr lang="es-MX" dirty="0"/>
              <a:t>) y se “compilan” para generar un binario (.</a:t>
            </a:r>
            <a:r>
              <a:rPr lang="es-MX" dirty="0" err="1"/>
              <a:t>dtb</a:t>
            </a:r>
            <a:r>
              <a:rPr lang="es-MX" dirty="0"/>
              <a:t>). Este binario se carga en memoria y se “enlaza” con los controladores de dispositivo correspondientes.</a:t>
            </a:r>
          </a:p>
          <a:p>
            <a:r>
              <a:rPr lang="es-MX" dirty="0"/>
              <a:t>Ampliamente utilizado en sistemas embebidos</a:t>
            </a:r>
          </a:p>
          <a:p>
            <a:endParaRPr lang="es-MX" dirty="0"/>
          </a:p>
          <a:p>
            <a:endParaRPr lang="es-MX" dirty="0"/>
          </a:p>
          <a:p>
            <a:endParaRPr lang="es-MX" dirty="0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1A6EE3-9A9C-047B-6678-DC8C4F156D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EE40FA-A42F-4833-BE98-AEADB77641EF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D41BB7-4940-FFB6-0FC2-B259986FC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5BE02C-471C-2B0A-F228-E985355376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8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7B9449-DD23-2504-5C5D-0957CD1066C8}"/>
              </a:ext>
            </a:extLst>
          </p:cNvPr>
          <p:cNvSpPr/>
          <p:nvPr/>
        </p:nvSpPr>
        <p:spPr>
          <a:xfrm>
            <a:off x="3707525" y="3284984"/>
            <a:ext cx="1133657" cy="1022412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b="0" i="0" u="none" baseline="0" dirty="0">
                <a:solidFill>
                  <a:srgbClr val="181818"/>
                </a:solidFill>
                <a:latin typeface="Arial" panose="020B0604020202020204" pitchFamily="34" charset="0"/>
              </a:rPr>
              <a:t>.</a:t>
            </a:r>
            <a:r>
              <a:rPr lang="es-MX" sz="1600" b="0" i="0" u="none" baseline="0" dirty="0" err="1">
                <a:solidFill>
                  <a:srgbClr val="181818"/>
                </a:solidFill>
                <a:latin typeface="Arial" panose="020B0604020202020204" pitchFamily="34" charset="0"/>
              </a:rPr>
              <a:t>dts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31E706-6863-6C3A-DF81-A3F99E1F954D}"/>
              </a:ext>
            </a:extLst>
          </p:cNvPr>
          <p:cNvSpPr txBox="1"/>
          <p:nvPr/>
        </p:nvSpPr>
        <p:spPr>
          <a:xfrm>
            <a:off x="5089484" y="3933056"/>
            <a:ext cx="899302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DTC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8BC61782-10C5-F971-1F9F-8EB743349558}"/>
              </a:ext>
            </a:extLst>
          </p:cNvPr>
          <p:cNvSpPr/>
          <p:nvPr/>
        </p:nvSpPr>
        <p:spPr>
          <a:xfrm>
            <a:off x="5140794" y="3612524"/>
            <a:ext cx="430592" cy="316525"/>
          </a:xfrm>
          <a:prstGeom prst="right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9B364B-1269-B0B9-54F2-C8BE7C5826B2}"/>
              </a:ext>
            </a:extLst>
          </p:cNvPr>
          <p:cNvSpPr txBox="1"/>
          <p:nvPr/>
        </p:nvSpPr>
        <p:spPr>
          <a:xfrm>
            <a:off x="3936698" y="4307236"/>
            <a:ext cx="899302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Fuente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353FDA-AB0C-C370-3726-9F357CD8093F}"/>
              </a:ext>
            </a:extLst>
          </p:cNvPr>
          <p:cNvSpPr txBox="1"/>
          <p:nvPr/>
        </p:nvSpPr>
        <p:spPr>
          <a:xfrm>
            <a:off x="6095985" y="4343329"/>
            <a:ext cx="899302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Binario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49AC2F-5229-D2B7-C66D-01CA85C290C8}"/>
              </a:ext>
            </a:extLst>
          </p:cNvPr>
          <p:cNvSpPr/>
          <p:nvPr/>
        </p:nvSpPr>
        <p:spPr>
          <a:xfrm>
            <a:off x="5863001" y="3282293"/>
            <a:ext cx="1133657" cy="1022412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b="0" i="0" u="none" baseline="0" dirty="0">
                <a:solidFill>
                  <a:srgbClr val="181818"/>
                </a:solidFill>
                <a:latin typeface="Arial" panose="020B0604020202020204" pitchFamily="34" charset="0"/>
              </a:rPr>
              <a:t>.</a:t>
            </a:r>
            <a:r>
              <a:rPr lang="es-MX" sz="1600" b="0" i="0" u="none" baseline="0" dirty="0" err="1">
                <a:solidFill>
                  <a:srgbClr val="181818"/>
                </a:solidFill>
                <a:latin typeface="Arial" panose="020B0604020202020204" pitchFamily="34" charset="0"/>
              </a:rPr>
              <a:t>dtb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83258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F97660-750D-07C4-0DD9-D13E8611E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Módulo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0C4BFC-74CA-F030-D319-4C19856948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489" y="1520791"/>
            <a:ext cx="11375997" cy="4572000"/>
          </a:xfrm>
        </p:spPr>
        <p:txBody>
          <a:bodyPr/>
          <a:lstStyle/>
          <a:p>
            <a:r>
              <a:rPr lang="es-MX" dirty="0"/>
              <a:t>Extensiones del </a:t>
            </a:r>
            <a:r>
              <a:rPr lang="es-MX" dirty="0" err="1"/>
              <a:t>kernel</a:t>
            </a:r>
            <a:r>
              <a:rPr lang="es-MX" dirty="0"/>
              <a:t> que pueden ser cargados en </a:t>
            </a:r>
            <a:r>
              <a:rPr lang="es-MX" dirty="0" err="1"/>
              <a:t>runtime</a:t>
            </a:r>
            <a:r>
              <a:rPr lang="es-MX" dirty="0"/>
              <a:t> bajo demanda (manual o automáticamente)</a:t>
            </a:r>
          </a:p>
          <a:p>
            <a:r>
              <a:rPr lang="es-MX" dirty="0"/>
              <a:t>Archivos con extensión .</a:t>
            </a:r>
            <a:r>
              <a:rPr lang="es-MX" dirty="0" err="1"/>
              <a:t>ko</a:t>
            </a:r>
            <a:endParaRPr lang="es-MX" dirty="0"/>
          </a:p>
          <a:p>
            <a:r>
              <a:rPr lang="es-MX" dirty="0"/>
              <a:t>Su generación depende de las configuraciones seleccionadas</a:t>
            </a:r>
          </a:p>
          <a:p>
            <a:r>
              <a:rPr lang="es-MX" dirty="0"/>
              <a:t>Residen en el </a:t>
            </a:r>
            <a:r>
              <a:rPr lang="es-MX" dirty="0" err="1"/>
              <a:t>root</a:t>
            </a:r>
            <a:r>
              <a:rPr lang="es-MX" dirty="0"/>
              <a:t> </a:t>
            </a:r>
            <a:r>
              <a:rPr lang="es-MX" dirty="0" err="1"/>
              <a:t>filesystem</a:t>
            </a:r>
            <a:r>
              <a:rPr lang="es-MX" dirty="0"/>
              <a:t> en la ruta </a:t>
            </a:r>
            <a:r>
              <a:rPr lang="es-MX" i="1" dirty="0"/>
              <a:t>/</a:t>
            </a:r>
            <a:r>
              <a:rPr lang="es-MX" i="1" dirty="0" err="1"/>
              <a:t>lib</a:t>
            </a:r>
            <a:r>
              <a:rPr lang="es-MX" i="1" dirty="0"/>
              <a:t>/modules/…</a:t>
            </a:r>
          </a:p>
          <a:p>
            <a:r>
              <a:rPr lang="es-MX" dirty="0"/>
              <a:t>Se acoplan y ejecutan en </a:t>
            </a:r>
            <a:r>
              <a:rPr lang="es-MX" dirty="0" err="1"/>
              <a:t>kernel</a:t>
            </a:r>
            <a:r>
              <a:rPr lang="es-MX" dirty="0"/>
              <a:t> </a:t>
            </a:r>
            <a:r>
              <a:rPr lang="es-MX" dirty="0" err="1"/>
              <a:t>space</a:t>
            </a:r>
            <a:endParaRPr lang="es-MX" dirty="0"/>
          </a:p>
          <a:p>
            <a:r>
              <a:rPr lang="es-MX" dirty="0"/>
              <a:t>Utilizados en controladores de dispositivo</a:t>
            </a:r>
          </a:p>
          <a:p>
            <a:endParaRPr lang="es-MX" dirty="0"/>
          </a:p>
          <a:p>
            <a:pPr marL="0" indent="0">
              <a:buNone/>
            </a:pPr>
            <a:r>
              <a:rPr lang="es-MX" dirty="0"/>
              <a:t>Comandos para manipulación de módulos del </a:t>
            </a:r>
            <a:r>
              <a:rPr lang="es-MX" dirty="0" err="1"/>
              <a:t>kernel</a:t>
            </a:r>
            <a:r>
              <a:rPr lang="es-MX" dirty="0"/>
              <a:t>:</a:t>
            </a:r>
          </a:p>
          <a:p>
            <a:pPr marL="0" indent="0">
              <a:buNone/>
            </a:pPr>
            <a:endParaRPr lang="es-MX" dirty="0"/>
          </a:p>
          <a:p>
            <a:r>
              <a:rPr lang="es-MX" i="1" dirty="0" err="1"/>
              <a:t>lsmod</a:t>
            </a:r>
            <a:r>
              <a:rPr lang="es-MX" dirty="0"/>
              <a:t> =&gt; listar módulos insertados</a:t>
            </a:r>
          </a:p>
          <a:p>
            <a:r>
              <a:rPr lang="es-MX" i="1" dirty="0" err="1"/>
              <a:t>insmod</a:t>
            </a:r>
            <a:r>
              <a:rPr lang="es-MX" dirty="0"/>
              <a:t> =&gt; insertar módulo (.</a:t>
            </a:r>
            <a:r>
              <a:rPr lang="es-MX" dirty="0" err="1"/>
              <a:t>ko</a:t>
            </a:r>
            <a:r>
              <a:rPr lang="es-MX" dirty="0"/>
              <a:t>)</a:t>
            </a:r>
          </a:p>
          <a:p>
            <a:r>
              <a:rPr lang="es-MX" i="1" dirty="0" err="1"/>
              <a:t>rmmod</a:t>
            </a:r>
            <a:r>
              <a:rPr lang="es-MX" dirty="0"/>
              <a:t> =&gt; remover módul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F77662-61DB-5A61-5295-E9187DD93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396AAE-D2F1-4A99-A4CF-C49B090B6F0F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4F9A9A-F26D-CA66-CA7A-55CF73B6A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C9BDC2-BAC2-93AD-4CDA-88C5FD1A03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6253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5AA5343-D56A-70FA-7ABF-A94F269CB6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ipos de </a:t>
            </a:r>
            <a:r>
              <a:rPr lang="es-MX" dirty="0" err="1"/>
              <a:t>releases</a:t>
            </a:r>
            <a:r>
              <a:rPr lang="es-MX" dirty="0"/>
              <a:t> del </a:t>
            </a:r>
            <a:r>
              <a:rPr lang="es-MX" dirty="0" err="1"/>
              <a:t>kernel</a:t>
            </a:r>
            <a:r>
              <a:rPr lang="es-MX" dirty="0"/>
              <a:t> de Linux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2665C1-103D-DAEA-0591-5D381B250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E2504-510F-482C-BCCD-59AD0FF99E3B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F1B7A5-37AB-5270-DDD7-01C2CB3C41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B18DE1-DBE1-2646-B8C9-543DDEEDE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27741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C2A3D286-D977-4A63-B9BA-FB5114F43F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nstalación / carga del </a:t>
            </a:r>
            <a:r>
              <a:rPr lang="es-MX" dirty="0" err="1"/>
              <a:t>kernel</a:t>
            </a:r>
            <a:r>
              <a:rPr lang="es-MX" dirty="0"/>
              <a:t> de Linux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EA4AAF-C4C7-41A8-B5F0-ACEAD8599B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B5239-E64D-43A6-98F5-DD6A8CD1D7CC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21E80F-2917-47B2-B640-DEB06B296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637C45-FB2E-4B61-B094-E2D3E73AE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74290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D77D0-F11D-4E3A-AC3C-32402879B8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nstalación por reemplazo de image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EE5D0F-862E-4A3E-9B0B-235EF9C043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En la tarjeta </a:t>
            </a:r>
            <a:r>
              <a:rPr lang="es-MX" dirty="0" err="1"/>
              <a:t>BeagleBone</a:t>
            </a:r>
            <a:r>
              <a:rPr lang="es-MX" dirty="0"/>
              <a:t>, para (re)instalar el </a:t>
            </a:r>
            <a:r>
              <a:rPr lang="es-MX" dirty="0" err="1"/>
              <a:t>kernel</a:t>
            </a:r>
            <a:r>
              <a:rPr lang="es-MX" dirty="0"/>
              <a:t> recién compilado, se puede simplemente reemplazar la imagen que se encuentra en la carpeta </a:t>
            </a:r>
            <a:r>
              <a:rPr lang="es-MX" i="1" dirty="0"/>
              <a:t>/</a:t>
            </a:r>
            <a:r>
              <a:rPr lang="es-MX" i="1" dirty="0" err="1"/>
              <a:t>boot</a:t>
            </a:r>
            <a:r>
              <a:rPr lang="es-MX" i="1" dirty="0"/>
              <a:t> </a:t>
            </a:r>
            <a:r>
              <a:rPr lang="es-MX" dirty="0"/>
              <a:t>dentro del </a:t>
            </a:r>
            <a:r>
              <a:rPr lang="es-MX" dirty="0" err="1"/>
              <a:t>root</a:t>
            </a:r>
            <a:r>
              <a:rPr lang="es-MX" dirty="0"/>
              <a:t> </a:t>
            </a:r>
            <a:r>
              <a:rPr lang="es-MX" dirty="0" err="1"/>
              <a:t>filesystem</a:t>
            </a:r>
            <a:r>
              <a:rPr lang="es-MX" dirty="0"/>
              <a:t> por el </a:t>
            </a:r>
            <a:r>
              <a:rPr lang="es-MX" b="1" dirty="0" err="1"/>
              <a:t>zImage</a:t>
            </a:r>
            <a:r>
              <a:rPr lang="es-MX" b="1" dirty="0"/>
              <a:t> </a:t>
            </a:r>
            <a:r>
              <a:rPr lang="es-MX" dirty="0"/>
              <a:t>recién generado.</a:t>
            </a:r>
          </a:p>
          <a:p>
            <a:endParaRPr lang="es-MX" dirty="0"/>
          </a:p>
          <a:p>
            <a:pPr lvl="1"/>
            <a:r>
              <a:rPr lang="es-MX" dirty="0"/>
              <a:t>Procedimiento depende de la configuración del cargador, el medio de arranque, etc.</a:t>
            </a:r>
          </a:p>
          <a:p>
            <a:pPr lvl="1"/>
            <a:r>
              <a:rPr lang="es-MX" dirty="0"/>
              <a:t>Si la imagen no es la apropiada el sistema puede quedar inservible (incapaz de cargar el </a:t>
            </a:r>
            <a:r>
              <a:rPr lang="es-MX" dirty="0" err="1"/>
              <a:t>kernel</a:t>
            </a:r>
            <a:r>
              <a:rPr lang="es-MX" dirty="0"/>
              <a:t>)</a:t>
            </a:r>
          </a:p>
          <a:p>
            <a:pPr lvl="1"/>
            <a:r>
              <a:rPr lang="es-MX" dirty="0"/>
              <a:t>Puede hacerse desde el </a:t>
            </a:r>
            <a:r>
              <a:rPr lang="es-MX" b="1" dirty="0"/>
              <a:t>host</a:t>
            </a:r>
            <a:r>
              <a:rPr lang="es-MX" dirty="0"/>
              <a:t>, montando un medio externo como una tarjeta SD que contenga el </a:t>
            </a:r>
            <a:r>
              <a:rPr lang="es-MX" dirty="0" err="1"/>
              <a:t>root</a:t>
            </a:r>
            <a:r>
              <a:rPr lang="es-MX" dirty="0"/>
              <a:t> </a:t>
            </a:r>
            <a:r>
              <a:rPr lang="es-MX" dirty="0" err="1"/>
              <a:t>filesystem</a:t>
            </a:r>
            <a:r>
              <a:rPr lang="es-MX" dirty="0"/>
              <a:t> que utilizará el </a:t>
            </a:r>
            <a:r>
              <a:rPr lang="es-MX" b="1" dirty="0"/>
              <a:t>target</a:t>
            </a:r>
          </a:p>
          <a:p>
            <a:endParaRPr lang="es-MX" dirty="0"/>
          </a:p>
          <a:p>
            <a:r>
              <a:rPr lang="es-MX" dirty="0"/>
              <a:t>Por consistencia, los módulos (.</a:t>
            </a:r>
            <a:r>
              <a:rPr lang="es-MX" dirty="0" err="1"/>
              <a:t>ko</a:t>
            </a:r>
            <a:r>
              <a:rPr lang="es-MX" dirty="0"/>
              <a:t>) también deberán ser reemplazados por los recién generados:</a:t>
            </a:r>
          </a:p>
          <a:p>
            <a:pPr lvl="1"/>
            <a:r>
              <a:rPr lang="es-MX" dirty="0">
                <a:latin typeface="Consolas" panose="020B0609020204030204" pitchFamily="49" charset="0"/>
              </a:rPr>
              <a:t>$ </a:t>
            </a:r>
            <a:r>
              <a:rPr lang="es-MX" dirty="0" err="1">
                <a:latin typeface="Consolas" panose="020B0609020204030204" pitchFamily="49" charset="0"/>
              </a:rPr>
              <a:t>make</a:t>
            </a:r>
            <a:r>
              <a:rPr lang="es-MX" dirty="0">
                <a:latin typeface="Consolas" panose="020B0609020204030204" pitchFamily="49" charset="0"/>
              </a:rPr>
              <a:t> ARCH=</a:t>
            </a:r>
            <a:r>
              <a:rPr lang="es-MX" dirty="0" err="1">
                <a:latin typeface="Consolas" panose="020B0609020204030204" pitchFamily="49" charset="0"/>
              </a:rPr>
              <a:t>arm</a:t>
            </a:r>
            <a:r>
              <a:rPr lang="es-MX" dirty="0">
                <a:latin typeface="Consolas" panose="020B0609020204030204" pitchFamily="49" charset="0"/>
              </a:rPr>
              <a:t> CROSS_COMPILE=</a:t>
            </a:r>
            <a:r>
              <a:rPr lang="es-MX" dirty="0" err="1">
                <a:latin typeface="Consolas" panose="020B0609020204030204" pitchFamily="49" charset="0"/>
              </a:rPr>
              <a:t>arm-linux-gnueabi</a:t>
            </a:r>
            <a:r>
              <a:rPr lang="es-MX" dirty="0">
                <a:latin typeface="Consolas" panose="020B0609020204030204" pitchFamily="49" charset="0"/>
              </a:rPr>
              <a:t>- INSTALL_MOD_PATH=&lt;</a:t>
            </a:r>
            <a:r>
              <a:rPr lang="es-MX" dirty="0" err="1">
                <a:latin typeface="Consolas" panose="020B0609020204030204" pitchFamily="49" charset="0"/>
              </a:rPr>
              <a:t>path</a:t>
            </a:r>
            <a:r>
              <a:rPr lang="es-MX" dirty="0">
                <a:latin typeface="Consolas" panose="020B0609020204030204" pitchFamily="49" charset="0"/>
              </a:rPr>
              <a:t>&gt; </a:t>
            </a:r>
            <a:r>
              <a:rPr lang="es-MX" b="1" dirty="0" err="1">
                <a:latin typeface="Consolas" panose="020B0609020204030204" pitchFamily="49" charset="0"/>
              </a:rPr>
              <a:t>modules_install</a:t>
            </a:r>
            <a:endParaRPr lang="es-MX" b="1" dirty="0">
              <a:latin typeface="Consolas" panose="020B0609020204030204" pitchFamily="49" charset="0"/>
            </a:endParaRPr>
          </a:p>
          <a:p>
            <a:pPr lvl="1"/>
            <a:endParaRPr lang="es-MX" dirty="0">
              <a:latin typeface="Consolas" panose="020B0609020204030204" pitchFamily="49" charset="0"/>
            </a:endParaRPr>
          </a:p>
          <a:p>
            <a:endParaRPr lang="es-MX" dirty="0"/>
          </a:p>
          <a:p>
            <a:pPr lvl="1"/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67C864-A024-43FD-B36E-F1ED6574C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30F64-4D4B-43C9-8305-BD0673216C15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ECF271-9744-482C-A978-006D25170A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5F2944-21DC-485A-B81E-BC9F5EE95A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8699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9F173-FBA5-4FCA-A5D8-4DA732D36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Arranque por re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EE1E89-DB7A-4346-B3FF-57282CF484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Una alternativa común y más eficiente durante el desarrollo es cargar la nueva imagen del </a:t>
            </a:r>
            <a:r>
              <a:rPr lang="es-MX" dirty="0" err="1"/>
              <a:t>kernel</a:t>
            </a:r>
            <a:r>
              <a:rPr lang="es-MX" dirty="0"/>
              <a:t> utilizando el arranque por red</a:t>
            </a:r>
          </a:p>
          <a:p>
            <a:r>
              <a:rPr lang="es-MX" dirty="0"/>
              <a:t>Es importante verificar el load </a:t>
            </a:r>
            <a:r>
              <a:rPr lang="es-MX" dirty="0" err="1"/>
              <a:t>address</a:t>
            </a:r>
            <a:r>
              <a:rPr lang="es-MX" dirty="0"/>
              <a:t> que usará el cargador y de ser necesario recompilar usando el </a:t>
            </a:r>
            <a:r>
              <a:rPr lang="es-MX" dirty="0" err="1"/>
              <a:t>flag</a:t>
            </a:r>
            <a:r>
              <a:rPr lang="es-MX" dirty="0"/>
              <a:t> LOADADD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FE80EF-6ED0-4FD0-AA0E-44E41979DB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28588-6113-491D-837B-E4CBFB0371B3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250C5A-863B-4007-A6AD-7E20F07EF9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BD4D7B-4C1B-4DA6-A8E0-D5CFEFA39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726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ADEE5-F5B3-8F6E-5007-2BDB26494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ipos de </a:t>
            </a:r>
            <a:r>
              <a:rPr lang="es-MX" dirty="0" err="1"/>
              <a:t>Releas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B2A5DE-FB79-2CD0-0E5B-D566617897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MX" dirty="0" err="1"/>
              <a:t>Prepatch</a:t>
            </a:r>
            <a:r>
              <a:rPr lang="es-MX" dirty="0"/>
              <a:t> / candidate (</a:t>
            </a:r>
            <a:r>
              <a:rPr lang="es-MX" dirty="0" err="1"/>
              <a:t>x.y-rc</a:t>
            </a:r>
            <a:r>
              <a:rPr lang="es-MX" dirty="0"/>
              <a:t>#)</a:t>
            </a:r>
          </a:p>
          <a:p>
            <a:pPr lvl="1"/>
            <a:r>
              <a:rPr lang="es-MX" dirty="0" err="1"/>
              <a:t>Pre-releases</a:t>
            </a:r>
            <a:r>
              <a:rPr lang="es-MX" dirty="0"/>
              <a:t> </a:t>
            </a:r>
            <a:r>
              <a:rPr lang="es-MX" dirty="0" err="1"/>
              <a:t>mainline</a:t>
            </a:r>
            <a:r>
              <a:rPr lang="es-MX" dirty="0"/>
              <a:t> enfocados a desarrolladores, deben ser compilados desde el código fuente</a:t>
            </a:r>
          </a:p>
          <a:p>
            <a:pPr lvl="1"/>
            <a:r>
              <a:rPr lang="es-MX" dirty="0"/>
              <a:t>Contienen nuevas características que aún deben ser probadas antes de integrarse a un </a:t>
            </a:r>
            <a:r>
              <a:rPr lang="es-MX" dirty="0" err="1"/>
              <a:t>release</a:t>
            </a:r>
            <a:r>
              <a:rPr lang="es-MX" dirty="0"/>
              <a:t> estable</a:t>
            </a:r>
          </a:p>
          <a:p>
            <a:pPr marL="179025" lvl="1" indent="0">
              <a:buNone/>
            </a:pPr>
            <a:endParaRPr lang="es-MX" dirty="0"/>
          </a:p>
          <a:p>
            <a:r>
              <a:rPr lang="es-MX" dirty="0" err="1"/>
              <a:t>Mainline</a:t>
            </a:r>
            <a:r>
              <a:rPr lang="es-MX" dirty="0"/>
              <a:t> (</a:t>
            </a:r>
            <a:r>
              <a:rPr lang="es-MX" dirty="0" err="1"/>
              <a:t>x.y</a:t>
            </a:r>
            <a:r>
              <a:rPr lang="es-MX" dirty="0"/>
              <a:t>)</a:t>
            </a:r>
          </a:p>
          <a:p>
            <a:pPr lvl="1"/>
            <a:r>
              <a:rPr lang="es-MX" dirty="0"/>
              <a:t>Donde todos los nuevos </a:t>
            </a:r>
            <a:r>
              <a:rPr lang="es-MX" dirty="0" err="1"/>
              <a:t>features</a:t>
            </a:r>
            <a:r>
              <a:rPr lang="es-MX" dirty="0"/>
              <a:t> son integrados. Usualmente liberado cada 2-3 meses</a:t>
            </a:r>
          </a:p>
          <a:p>
            <a:pPr lvl="1"/>
            <a:r>
              <a:rPr lang="es-MX" dirty="0"/>
              <a:t>Puede contener bugs o ser inestable, no recomendado para uso diario</a:t>
            </a:r>
          </a:p>
          <a:p>
            <a:pPr marL="179025" lvl="1" indent="0">
              <a:buNone/>
            </a:pPr>
            <a:endParaRPr lang="es-MX" dirty="0"/>
          </a:p>
          <a:p>
            <a:r>
              <a:rPr lang="es-MX" dirty="0" err="1"/>
              <a:t>Stable</a:t>
            </a:r>
            <a:r>
              <a:rPr lang="es-MX" dirty="0"/>
              <a:t> (</a:t>
            </a:r>
            <a:r>
              <a:rPr lang="es-MX" dirty="0" err="1"/>
              <a:t>x.y.z</a:t>
            </a:r>
            <a:r>
              <a:rPr lang="es-MX" dirty="0"/>
              <a:t>)</a:t>
            </a:r>
          </a:p>
          <a:p>
            <a:pPr lvl="1"/>
            <a:r>
              <a:rPr lang="es-MX" dirty="0"/>
              <a:t>Un </a:t>
            </a:r>
            <a:r>
              <a:rPr lang="es-MX" dirty="0" err="1"/>
              <a:t>release</a:t>
            </a:r>
            <a:r>
              <a:rPr lang="es-MX" dirty="0"/>
              <a:t> </a:t>
            </a:r>
            <a:r>
              <a:rPr lang="es-MX" dirty="0" err="1"/>
              <a:t>mainline</a:t>
            </a:r>
            <a:r>
              <a:rPr lang="es-MX" dirty="0"/>
              <a:t> declarado estable. Puede recibir actualizaciones (bug </a:t>
            </a:r>
            <a:r>
              <a:rPr lang="es-MX" dirty="0" err="1"/>
              <a:t>fix</a:t>
            </a:r>
            <a:r>
              <a:rPr lang="es-MX" dirty="0"/>
              <a:t>) que se integren al </a:t>
            </a:r>
            <a:r>
              <a:rPr lang="es-MX" dirty="0" err="1"/>
              <a:t>mainline</a:t>
            </a:r>
            <a:r>
              <a:rPr lang="es-MX" dirty="0"/>
              <a:t> (</a:t>
            </a:r>
            <a:r>
              <a:rPr lang="es-MX" dirty="0" err="1"/>
              <a:t>backporting</a:t>
            </a:r>
            <a:r>
              <a:rPr lang="es-MX" dirty="0"/>
              <a:t>) durante un tiemp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EE1770-995A-6082-7796-BFA60DE2B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E103A-7545-4A46-8496-2654FEE98FE4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E1BFF3-1C58-17D1-7A77-213797978E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D0BDA3-B719-CAD0-43D0-BC422A641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7563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ADEE5-F5B3-8F6E-5007-2BDB26494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ipos de </a:t>
            </a:r>
            <a:r>
              <a:rPr lang="es-MX" dirty="0" err="1"/>
              <a:t>Releas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B2A5DE-FB79-2CD0-0E5B-D566617897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MX" dirty="0" err="1"/>
              <a:t>Longterm</a:t>
            </a:r>
            <a:endParaRPr lang="es-MX" dirty="0"/>
          </a:p>
          <a:p>
            <a:pPr lvl="1"/>
            <a:r>
              <a:rPr lang="es-MX" dirty="0"/>
              <a:t>Un </a:t>
            </a:r>
            <a:r>
              <a:rPr lang="es-MX" dirty="0" err="1"/>
              <a:t>release</a:t>
            </a:r>
            <a:r>
              <a:rPr lang="es-MX" dirty="0"/>
              <a:t> estable mantenido por un tiempo mucho más largo (años)</a:t>
            </a:r>
          </a:p>
          <a:p>
            <a:pPr lvl="1"/>
            <a:r>
              <a:rPr lang="es-MX" dirty="0"/>
              <a:t>Usualmente reciben actualizaciones de seguridad y bug </a:t>
            </a:r>
            <a:r>
              <a:rPr lang="es-MX" dirty="0" err="1"/>
              <a:t>fixes</a:t>
            </a:r>
            <a:r>
              <a:rPr lang="es-MX" dirty="0"/>
              <a:t> (</a:t>
            </a:r>
            <a:r>
              <a:rPr lang="es-MX" dirty="0" err="1"/>
              <a:t>backporting</a:t>
            </a:r>
            <a:r>
              <a:rPr lang="es-MX" dirty="0"/>
              <a:t>) pero no nuevos </a:t>
            </a:r>
            <a:r>
              <a:rPr lang="es-MX" dirty="0" err="1"/>
              <a:t>features</a:t>
            </a:r>
            <a:endParaRPr lang="es-MX" dirty="0"/>
          </a:p>
          <a:p>
            <a:pPr lvl="1"/>
            <a:r>
              <a:rPr lang="es-MX" dirty="0"/>
              <a:t>Elegidos para ambientes donde la estabilidad y seguridad son lo esencial</a:t>
            </a:r>
          </a:p>
          <a:p>
            <a:endParaRPr lang="es-MX" dirty="0"/>
          </a:p>
          <a:p>
            <a:r>
              <a:rPr lang="es-MX" dirty="0" err="1"/>
              <a:t>Distribution</a:t>
            </a:r>
            <a:r>
              <a:rPr lang="es-MX" dirty="0"/>
              <a:t> </a:t>
            </a:r>
            <a:r>
              <a:rPr lang="es-MX" dirty="0" err="1"/>
              <a:t>kernels</a:t>
            </a:r>
            <a:r>
              <a:rPr lang="es-MX" dirty="0"/>
              <a:t> (</a:t>
            </a:r>
            <a:r>
              <a:rPr lang="es-MX" dirty="0" err="1"/>
              <a:t>x.y.z</a:t>
            </a:r>
            <a:r>
              <a:rPr lang="es-MX" dirty="0"/>
              <a:t>-…)</a:t>
            </a:r>
          </a:p>
          <a:p>
            <a:pPr lvl="1"/>
            <a:r>
              <a:rPr lang="es-MX" dirty="0"/>
              <a:t>Proveídos y mantenidos por una distribución	 de Linux durante un periodo largo de tiempo</a:t>
            </a:r>
          </a:p>
          <a:p>
            <a:pPr lvl="1"/>
            <a:r>
              <a:rPr lang="es-MX" dirty="0"/>
              <a:t>No se encuentran en kernel.org y los desarrolladores del </a:t>
            </a:r>
            <a:r>
              <a:rPr lang="es-MX" dirty="0" err="1"/>
              <a:t>kernel</a:t>
            </a:r>
            <a:r>
              <a:rPr lang="es-MX" dirty="0"/>
              <a:t> no proveen soporte directamen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EE1770-995A-6082-7796-BFA60DE2B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E103A-7545-4A46-8496-2654FEE98FE4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E1BFF3-1C58-17D1-7A77-213797978E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D0BDA3-B719-CAD0-43D0-BC422A641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3412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73BBE00-CFB9-43F4-A8F2-A4659BFE2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Estructura del código fuente de Linux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6E0CD2-2246-444F-AB94-982397649D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1A788-651E-460D-9812-90E9D3770039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38EC7F-80C3-4CD4-B289-9CF6493E42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278AE9-61B1-4A8E-995F-19BCE3B78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01526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7F6DF5-107E-51E3-8BE4-44E37A9C2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Obtención del código fuente de Linux (</a:t>
            </a:r>
            <a:r>
              <a:rPr lang="es-MX" dirty="0" err="1"/>
              <a:t>vanilla</a:t>
            </a:r>
            <a:r>
              <a:rPr lang="es-MX" dirty="0"/>
              <a:t>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3E0235-6A1C-04A9-BA0C-189810BB06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Archive del </a:t>
            </a:r>
            <a:r>
              <a:rPr lang="es-MX" dirty="0" err="1"/>
              <a:t>release</a:t>
            </a:r>
            <a:r>
              <a:rPr lang="es-MX" dirty="0"/>
              <a:t> (kernel.org):</a:t>
            </a:r>
          </a:p>
          <a:p>
            <a:pPr lvl="1"/>
            <a:r>
              <a:rPr lang="es-MX" dirty="0"/>
              <a:t>Únicamente descarga del código fuente en un </a:t>
            </a:r>
            <a:r>
              <a:rPr lang="es-MX" dirty="0" err="1"/>
              <a:t>tarball</a:t>
            </a:r>
            <a:endParaRPr lang="es-MX" dirty="0"/>
          </a:p>
          <a:p>
            <a:pPr marL="179025" lvl="1" indent="0">
              <a:buNone/>
            </a:pPr>
            <a:r>
              <a:rPr lang="es-MX" dirty="0"/>
              <a:t> </a:t>
            </a:r>
          </a:p>
          <a:p>
            <a:r>
              <a:rPr lang="es-MX" dirty="0"/>
              <a:t>Git:</a:t>
            </a:r>
          </a:p>
          <a:p>
            <a:pPr lvl="1"/>
            <a:r>
              <a:rPr lang="es-MX" dirty="0"/>
              <a:t>Contiene el historial de </a:t>
            </a:r>
            <a:r>
              <a:rPr lang="es-MX" dirty="0" err="1"/>
              <a:t>commits</a:t>
            </a:r>
            <a:r>
              <a:rPr lang="es-MX" dirty="0"/>
              <a:t> (log)</a:t>
            </a:r>
          </a:p>
          <a:p>
            <a:pPr lvl="1"/>
            <a:r>
              <a:rPr lang="es-MX" dirty="0"/>
              <a:t>Necesario para desarrollo/contribución</a:t>
            </a:r>
          </a:p>
          <a:p>
            <a:pPr marL="179025" lvl="1" indent="0">
              <a:buNone/>
            </a:pPr>
            <a:endParaRPr lang="es-MX" dirty="0"/>
          </a:p>
          <a:p>
            <a:pPr lvl="1"/>
            <a:r>
              <a:rPr lang="en-US" i="1" dirty="0"/>
              <a:t>$ git clone &lt;--depth 1&gt; git://git.kernel.org/pub/scm/linux/kernel/git/stable/linux.git</a:t>
            </a:r>
          </a:p>
          <a:p>
            <a:pPr lvl="1"/>
            <a:r>
              <a:rPr lang="en-US" i="1" dirty="0"/>
              <a:t>$ git checkout v4.19.94</a:t>
            </a:r>
          </a:p>
          <a:p>
            <a:pPr lvl="1"/>
            <a:endParaRPr lang="en-US" i="1" dirty="0"/>
          </a:p>
          <a:p>
            <a:pPr lvl="1"/>
            <a:r>
              <a:rPr lang="en-US" dirty="0"/>
              <a:t>*La </a:t>
            </a:r>
            <a:r>
              <a:rPr lang="en-US" dirty="0" err="1"/>
              <a:t>bandera</a:t>
            </a:r>
            <a:r>
              <a:rPr lang="en-US" dirty="0"/>
              <a:t> </a:t>
            </a:r>
            <a:r>
              <a:rPr lang="en-US" i="1" dirty="0"/>
              <a:t>--depth 1 </a:t>
            </a:r>
            <a:r>
              <a:rPr lang="en-US" dirty="0"/>
              <a:t>indica solo </a:t>
            </a:r>
            <a:r>
              <a:rPr lang="en-US" dirty="0" err="1"/>
              <a:t>incluír</a:t>
            </a:r>
            <a:r>
              <a:rPr lang="en-US" dirty="0"/>
              <a:t> </a:t>
            </a:r>
            <a:r>
              <a:rPr lang="en-US" dirty="0" err="1"/>
              <a:t>el</a:t>
            </a:r>
            <a:r>
              <a:rPr lang="en-US" dirty="0"/>
              <a:t> ultimo commit de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archivos</a:t>
            </a:r>
            <a:r>
              <a:rPr lang="en-US" dirty="0"/>
              <a:t> del repo lo </a:t>
            </a:r>
            <a:r>
              <a:rPr lang="en-US" dirty="0" err="1"/>
              <a:t>cual</a:t>
            </a:r>
            <a:r>
              <a:rPr lang="en-US" dirty="0"/>
              <a:t> </a:t>
            </a:r>
            <a:r>
              <a:rPr lang="en-US" dirty="0" err="1"/>
              <a:t>ahorra</a:t>
            </a:r>
            <a:r>
              <a:rPr lang="en-US" dirty="0"/>
              <a:t> </a:t>
            </a:r>
            <a:r>
              <a:rPr lang="en-US" dirty="0" err="1"/>
              <a:t>mucho</a:t>
            </a:r>
            <a:r>
              <a:rPr lang="en-US" dirty="0"/>
              <a:t> </a:t>
            </a:r>
            <a:r>
              <a:rPr lang="en-US" dirty="0" err="1"/>
              <a:t>espacio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disco </a:t>
            </a:r>
            <a:r>
              <a:rPr lang="en-US" dirty="0" err="1"/>
              <a:t>pero</a:t>
            </a:r>
            <a:r>
              <a:rPr lang="en-US" dirty="0"/>
              <a:t> no </a:t>
            </a:r>
            <a:r>
              <a:rPr lang="en-US" dirty="0" err="1"/>
              <a:t>contiene</a:t>
            </a:r>
            <a:r>
              <a:rPr lang="en-US" dirty="0"/>
              <a:t> </a:t>
            </a:r>
            <a:r>
              <a:rPr lang="en-US" dirty="0" err="1"/>
              <a:t>el</a:t>
            </a:r>
            <a:r>
              <a:rPr lang="en-US" dirty="0"/>
              <a:t> log </a:t>
            </a:r>
            <a:r>
              <a:rPr lang="en-US" dirty="0" err="1"/>
              <a:t>completo</a:t>
            </a:r>
            <a:r>
              <a:rPr lang="en-US" dirty="0"/>
              <a:t>, no se </a:t>
            </a:r>
            <a:r>
              <a:rPr lang="en-US" dirty="0" err="1"/>
              <a:t>recomienda</a:t>
            </a:r>
            <a:r>
              <a:rPr lang="en-US" dirty="0"/>
              <a:t> usar para </a:t>
            </a:r>
            <a:r>
              <a:rPr lang="en-US" dirty="0" err="1"/>
              <a:t>desarrollo</a:t>
            </a:r>
            <a:r>
              <a:rPr lang="en-US" dirty="0"/>
              <a:t> </a:t>
            </a:r>
            <a:r>
              <a:rPr lang="en-US" dirty="0" err="1"/>
              <a:t>cotidiano</a:t>
            </a:r>
            <a:endParaRPr lang="en-US" dirty="0"/>
          </a:p>
          <a:p>
            <a:pPr lvl="1"/>
            <a:endParaRPr lang="es-MX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989216-2C99-6987-2BC6-9E8A23206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946EB-1356-480B-A35F-0E89A064F47A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FEE0F6-F1E9-1231-C5D5-2B60A8A542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98E999-ED13-14AA-2B30-80555A6978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672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04773-B431-48D8-83F0-32AB30FB3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Estructura del código fuente</a:t>
            </a:r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9D3582DD-933A-4C57-A9E2-1C1DCD3823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015866" y="871803"/>
            <a:ext cx="1080120" cy="5113481"/>
          </a:xfr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8514A9-746C-4D57-A271-731E84FBE2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B9D40-EE93-40F6-ABEC-8D6037BD65E5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C4DAA9-F5A9-4504-A8CC-526E1419D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301134-9352-4FA1-B3A1-660B3D5FE5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3409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04773-B431-48D8-83F0-32AB30FB3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Estructura del código fuente</a:t>
            </a:r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9D3582DD-933A-4C57-A9E2-1C1DCD3823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015866" y="840113"/>
            <a:ext cx="1080120" cy="5113481"/>
          </a:xfr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8514A9-746C-4D57-A271-731E84FBE2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B9D40-EE93-40F6-ABEC-8D6037BD65E5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C4DAA9-F5A9-4504-A8CC-526E1419D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301134-9352-4FA1-B3A1-660B3D5FE5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9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DC1672-BC23-472F-A874-9640E5875990}"/>
              </a:ext>
            </a:extLst>
          </p:cNvPr>
          <p:cNvSpPr txBox="1"/>
          <p:nvPr/>
        </p:nvSpPr>
        <p:spPr>
          <a:xfrm>
            <a:off x="479376" y="1297935"/>
            <a:ext cx="3996444" cy="120032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Folders más relevantes en el desarrollo (excepto el </a:t>
            </a:r>
            <a:r>
              <a:rPr lang="es-MX" sz="24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core</a:t>
            </a:r>
            <a:r>
              <a:rPr lang="es-MX" sz="2400" dirty="0">
                <a:solidFill>
                  <a:srgbClr val="000000"/>
                </a:solidFill>
                <a:latin typeface="Arial" panose="020B0604020202020204" pitchFamily="34" charset="0"/>
              </a:rPr>
              <a:t> del </a:t>
            </a:r>
            <a:r>
              <a:rPr lang="es-MX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kernel</a:t>
            </a:r>
            <a:r>
              <a:rPr lang="es-MX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0FB91B0-AFD3-FD1F-7DA8-DC43593528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9675" y="881062"/>
            <a:ext cx="2152650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852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UNDO_REDO_REVISION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wMBAQEBAQEBAQEBAQEBAQIAAAAAAAAAAwAAAAMAAAAA/////wQA0wsAAAAAAAAAAAAAIAD///////////////8AAAD///////////////8DAAAAAgD///////8DAAAAAgD///////8DAAAAAgD///////8DAAAAAgD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LAP///////wQAAAACABAAC+OZMivCpvdPiM/sKBaFslUFAAAAAAADAAAAAAADAAAAAwADAAAAAAD///////8DAAAAAAD///////8DAAAAAAD///////8DAAAAAAD///////8DAAAAAAD///////8DAAAAAAD///////8DAAAAAAD///////8DAAAAAAD///////8DAAAAAAD///////8DAAAAAAD///////8DAAEA////////BAAAAAMAEAALJ791aQfSmEmWsI2G/t5Z8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OOZMivCpvdPiM/sKBaFslUDRGF0YQAbAAAABExpbmtlZFNoYXBlRGF0YQAFAAAAAAACTmFtZQAZAAAATGlua2VkU2hhcGVzRGF0YVByb3BlcnR5ABBWZXJzaW9uAAAAAAAJTGFzdFdyaXRlANFb6Ph3AQAAAAEA/////50AnQAAAAVfaWQAEAAAAAQnv3VpB9KYSZawjYb+3lnwA0RhdGEAKgAAAAhQcmVzZW50YXRpb25TY2FubmVkRm9yTGlua2VkU2hhcGVzAAEAAk5hbWUAJAAAAExpbmtlZFNoYXBlUHJlc2VudGF0aW9uU2V0dGluZ3NEYXRhABBWZXJzaW9uAAAAAAAJTGFzdFdyaXRlAPxb6Ph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5"/>
  <p:tag name="MIO_SHOW_DATE" val="True"/>
  <p:tag name="MIO_SHOW_FOOTER" val="True"/>
  <p:tag name="MIO_SHOW_PAGENUMBER" val="True"/>
  <p:tag name="MIO_AVOID_BLANK_LAYOUT" val="False"/>
  <p:tag name="MIO_NUMBER_OF_VALID_LAYOUTS" val="20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08"/>
  <p:tag name="MIO_UPDATE" val="True"/>
  <p:tag name="MIO_VERSION" val="30.06.2017 15:02:37"/>
  <p:tag name="MIO_DBID" val="ED9FF2F2-6643-46BA-B685-7D49126FFAFF"/>
  <p:tag name="MIO_LASTDOWNLOADED" val="10.07.2017 14:27:11"/>
  <p:tag name="MIO_OBJECTNAME" val="Corporate, 16x9"/>
  <p:tag name="MIO_LASTEDITORNAME" val="Leon Kirchner_ex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EK" val="19201"/>
  <p:tag name="MIO_FALLBACK_LAYOUT" val="15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3"/>
  <p:tag name="MIO_HDS" val="True"/>
  <p:tag name="MIO_SKIPVERSION" val="01.01.0001 00:00:00"/>
  <p:tag name="MIO_EKGUID" val="187d5f6e-8b5b-4f6b-aa70-df5f3d71d548"/>
  <p:tag name="MIO_UPDATE" val="True"/>
  <p:tag name="MIO_VERSION" val="11.05.2020 14:40:41"/>
  <p:tag name="MIO_DBID" val="28AD0E67-88F4-4826-B6CB-8EA6DE4EF11B"/>
  <p:tag name="MIO_LASTDOWNLOADED" val="03.03.2021 11:00:24"/>
  <p:tag name="MIO_OBJECTNAME" val="Automotive 16x9"/>
  <p:tag name="MIO_CDID" val="d446ddb0-4ccd-4ae3-96db-87dda6130c4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heme/theme1.xml><?xml version="1.0" encoding="utf-8"?>
<a:theme xmlns:a="http://schemas.openxmlformats.org/drawingml/2006/main" name="Continental AG 2021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smtClean="0">
            <a:solidFill>
              <a:srgbClr val="181818"/>
            </a:solidFill>
            <a:latin typeface="Arial" panose="020B0604020202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24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F1D69CB5-4D45-45F0-B20B-8737AC8ED40A}" vid="{E573284F-A76D-4AC0-A0D0-CAEB22281542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37</Words>
  <Application>Microsoft Office PowerPoint</Application>
  <PresentationFormat>Widescreen</PresentationFormat>
  <Paragraphs>348</Paragraphs>
  <Slides>32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5" baseType="lpstr">
      <vt:lpstr>Arial</vt:lpstr>
      <vt:lpstr>Consolas</vt:lpstr>
      <vt:lpstr>Continental AG 2021, 16x9</vt:lpstr>
      <vt:lpstr>Diplomado Linux Embebido – Módulo 4</vt:lpstr>
      <vt:lpstr>Fuentes y herramientas</vt:lpstr>
      <vt:lpstr>Tipos de releases del kernel de Linux</vt:lpstr>
      <vt:lpstr>Tipos de Releases</vt:lpstr>
      <vt:lpstr>Tipos de Releases</vt:lpstr>
      <vt:lpstr>Estructura del código fuente de Linux</vt:lpstr>
      <vt:lpstr>Obtención del código fuente de Linux (vanilla)</vt:lpstr>
      <vt:lpstr>Estructura del código fuente</vt:lpstr>
      <vt:lpstr>Estructura del código fuente</vt:lpstr>
      <vt:lpstr>Carpeta arch/arm</vt:lpstr>
      <vt:lpstr>Board Support Package (BSP)</vt:lpstr>
      <vt:lpstr>Configuración del código fuente</vt:lpstr>
      <vt:lpstr>Kbuild &amp; Kconfig</vt:lpstr>
      <vt:lpstr>Configuración y Makefiles</vt:lpstr>
      <vt:lpstr>kbuild Makefiles</vt:lpstr>
      <vt:lpstr>Banderas de CC (CFLAGS)</vt:lpstr>
      <vt:lpstr>Archivo .config</vt:lpstr>
      <vt:lpstr>Targets de configuración</vt:lpstr>
      <vt:lpstr>Más targets de configuración</vt:lpstr>
      <vt:lpstr>Ejemplo: menuconfig</vt:lpstr>
      <vt:lpstr>Lecturas recomendadas</vt:lpstr>
      <vt:lpstr>Generación del kernel de Linux</vt:lpstr>
      <vt:lpstr>Generación de binarios del kernel de Linux</vt:lpstr>
      <vt:lpstr>Variables de compilación comunes</vt:lpstr>
      <vt:lpstr>Binarios intermedios</vt:lpstr>
      <vt:lpstr>Binarios del kernel</vt:lpstr>
      <vt:lpstr>Generación del kernel booteable (ARM)</vt:lpstr>
      <vt:lpstr>Device tree</vt:lpstr>
      <vt:lpstr>Módulos</vt:lpstr>
      <vt:lpstr>Instalación / carga del kernel de Linux</vt:lpstr>
      <vt:lpstr>Instalación por reemplazo de imagen</vt:lpstr>
      <vt:lpstr>Arranque por r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eon Kirchner_ext</dc:creator>
  <cp:lastModifiedBy>Bautista, Alan</cp:lastModifiedBy>
  <cp:revision>325</cp:revision>
  <dcterms:created xsi:type="dcterms:W3CDTF">2019-04-24T08:42:37Z</dcterms:created>
  <dcterms:modified xsi:type="dcterms:W3CDTF">2023-06-14T01:49:09Z</dcterms:modified>
</cp:coreProperties>
</file>